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56" r:id="rId2"/>
    <p:sldId id="2147482628" r:id="rId3"/>
    <p:sldId id="2147482640" r:id="rId4"/>
    <p:sldId id="2147482643" r:id="rId5"/>
    <p:sldId id="2147482648" r:id="rId6"/>
    <p:sldId id="2147482642" r:id="rId7"/>
    <p:sldId id="2147482639" r:id="rId8"/>
    <p:sldId id="2147482644" r:id="rId9"/>
    <p:sldId id="2147482645" r:id="rId10"/>
    <p:sldId id="2147482646" r:id="rId11"/>
    <p:sldId id="2147482647" r:id="rId12"/>
    <p:sldId id="2147482649" r:id="rId13"/>
    <p:sldId id="2147482630" r:id="rId14"/>
    <p:sldId id="275" r:id="rId15"/>
    <p:sldId id="2147482627" r:id="rId16"/>
    <p:sldId id="2147482631" r:id="rId17"/>
    <p:sldId id="2147482632" r:id="rId18"/>
    <p:sldId id="2147482634" r:id="rId19"/>
    <p:sldId id="2147482635" r:id="rId20"/>
    <p:sldId id="2147482633" r:id="rId21"/>
    <p:sldId id="2147482637" r:id="rId22"/>
    <p:sldId id="2147482638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F9C2CF5-80A9-C11A-D5BE-49D0241B8DBF}" name="Thomas Stegen" initials="TS" userId="22c4adc42685512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7F"/>
    <a:srgbClr val="5DA4AF"/>
    <a:srgbClr val="5B7177"/>
    <a:srgbClr val="FEC017"/>
    <a:srgbClr val="FFB601"/>
    <a:srgbClr val="FFAB01"/>
    <a:srgbClr val="FE9E00"/>
    <a:srgbClr val="FE9400"/>
    <a:srgbClr val="FE8A00"/>
    <a:srgbClr val="FE8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5F97B9-14AB-4B3B-A844-0D79C1E5C7E5}" v="744" dt="2025-05-21T12:01:39.5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07" autoAdjust="0"/>
    <p:restoredTop sz="96765" autoAdjust="0"/>
  </p:normalViewPr>
  <p:slideViewPr>
    <p:cSldViewPr snapToGrid="0">
      <p:cViewPr varScale="1">
        <p:scale>
          <a:sx n="116" d="100"/>
          <a:sy n="116" d="100"/>
        </p:scale>
        <p:origin x="92" y="34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121" d="100"/>
          <a:sy n="121" d="100"/>
        </p:scale>
        <p:origin x="368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33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gen" userId="22c4adc426855124" providerId="LiveId" clId="{DBE2C018-B20E-4F3E-BF24-BC1534515AD2}"/>
    <pc:docChg chg="undo custSel addSld delSld modSld sldOrd modMainMaster">
      <pc:chgData name="Thomas Stegen" userId="22c4adc426855124" providerId="LiveId" clId="{DBE2C018-B20E-4F3E-BF24-BC1534515AD2}" dt="2024-11-22T11:41:33.436" v="4482"/>
      <pc:docMkLst>
        <pc:docMk/>
      </pc:docMkLst>
      <pc:sldChg chg="modSp mod modTransition">
        <pc:chgData name="Thomas Stegen" userId="22c4adc426855124" providerId="LiveId" clId="{DBE2C018-B20E-4F3E-BF24-BC1534515AD2}" dt="2024-11-22T11:37:29.028" v="4456"/>
        <pc:sldMkLst>
          <pc:docMk/>
          <pc:sldMk cId="299449681" sldId="256"/>
        </pc:sldMkLst>
      </pc:sldChg>
      <pc:sldChg chg="del">
        <pc:chgData name="Thomas Stegen" userId="22c4adc426855124" providerId="LiveId" clId="{DBE2C018-B20E-4F3E-BF24-BC1534515AD2}" dt="2024-11-12T15:06:05.088" v="17" actId="47"/>
        <pc:sldMkLst>
          <pc:docMk/>
          <pc:sldMk cId="1045594939" sldId="258"/>
        </pc:sldMkLst>
      </pc:sldChg>
      <pc:sldChg chg="addSp delSp modSp del mod modTransition">
        <pc:chgData name="Thomas Stegen" userId="22c4adc426855124" providerId="LiveId" clId="{DBE2C018-B20E-4F3E-BF24-BC1534515AD2}" dt="2024-11-12T15:58:34.741" v="2173" actId="47"/>
        <pc:sldMkLst>
          <pc:docMk/>
          <pc:sldMk cId="1311178885" sldId="865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2411508895" sldId="867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1379417009" sldId="871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2688343630" sldId="873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1218367431" sldId="874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2716020180" sldId="875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790761882" sldId="879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372174418" sldId="880"/>
        </pc:sldMkLst>
      </pc:sldChg>
      <pc:sldChg chg="del">
        <pc:chgData name="Thomas Stegen" userId="22c4adc426855124" providerId="LiveId" clId="{DBE2C018-B20E-4F3E-BF24-BC1534515AD2}" dt="2024-11-12T15:05:57.732" v="15" actId="47"/>
        <pc:sldMkLst>
          <pc:docMk/>
          <pc:sldMk cId="2137363152" sldId="881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380814300" sldId="884"/>
        </pc:sldMkLst>
      </pc:sldChg>
      <pc:sldChg chg="del">
        <pc:chgData name="Thomas Stegen" userId="22c4adc426855124" providerId="LiveId" clId="{DBE2C018-B20E-4F3E-BF24-BC1534515AD2}" dt="2024-11-12T15:11:49.657" v="393" actId="47"/>
        <pc:sldMkLst>
          <pc:docMk/>
          <pc:sldMk cId="3670356188" sldId="885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2922005027" sldId="890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1161760403" sldId="891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17849629" sldId="892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48254404" sldId="894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4249744296" sldId="895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3185049203" sldId="896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3838290289" sldId="897"/>
        </pc:sldMkLst>
      </pc:sldChg>
      <pc:sldChg chg="add del">
        <pc:chgData name="Thomas Stegen" userId="22c4adc426855124" providerId="LiveId" clId="{DBE2C018-B20E-4F3E-BF24-BC1534515AD2}" dt="2024-11-12T15:24:46.280" v="655" actId="47"/>
        <pc:sldMkLst>
          <pc:docMk/>
          <pc:sldMk cId="2546550359" sldId="900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2888962439" sldId="903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2862817810" sldId="904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3051306932" sldId="905"/>
        </pc:sldMkLst>
      </pc:sldChg>
      <pc:sldChg chg="addSp delSp modSp add mod modTransition modClrScheme chgLayout">
        <pc:chgData name="Thomas Stegen" userId="22c4adc426855124" providerId="LiveId" clId="{DBE2C018-B20E-4F3E-BF24-BC1534515AD2}" dt="2024-11-22T11:37:29.028" v="4456"/>
        <pc:sldMkLst>
          <pc:docMk/>
          <pc:sldMk cId="1764171886" sldId="913"/>
        </pc:sldMkLst>
      </pc:sldChg>
      <pc:sldChg chg="addSp delSp modSp add del mod">
        <pc:chgData name="Thomas Stegen" userId="22c4adc426855124" providerId="LiveId" clId="{DBE2C018-B20E-4F3E-BF24-BC1534515AD2}" dt="2024-11-12T15:37:56.199" v="731" actId="47"/>
        <pc:sldMkLst>
          <pc:docMk/>
          <pc:sldMk cId="1314385831" sldId="942"/>
        </pc:sldMkLst>
      </pc:sldChg>
      <pc:sldChg chg="addSp delSp modSp add mod modTransition modClrScheme chgLayout">
        <pc:chgData name="Thomas Stegen" userId="22c4adc426855124" providerId="LiveId" clId="{DBE2C018-B20E-4F3E-BF24-BC1534515AD2}" dt="2024-11-22T11:37:29.028" v="4456"/>
        <pc:sldMkLst>
          <pc:docMk/>
          <pc:sldMk cId="299236410" sldId="943"/>
        </pc:sldMkLst>
      </pc:sldChg>
      <pc:sldChg chg="addSp delSp modSp add mod modTransition modClrScheme chgLayout">
        <pc:chgData name="Thomas Stegen" userId="22c4adc426855124" providerId="LiveId" clId="{DBE2C018-B20E-4F3E-BF24-BC1534515AD2}" dt="2024-11-22T11:37:29.028" v="4456"/>
        <pc:sldMkLst>
          <pc:docMk/>
          <pc:sldMk cId="4006327399" sldId="944"/>
        </pc:sldMkLst>
      </pc:sldChg>
      <pc:sldChg chg="addSp delSp modSp add mod modTransition modClrScheme chgLayout">
        <pc:chgData name="Thomas Stegen" userId="22c4adc426855124" providerId="LiveId" clId="{DBE2C018-B20E-4F3E-BF24-BC1534515AD2}" dt="2024-11-22T11:37:29.028" v="4456"/>
        <pc:sldMkLst>
          <pc:docMk/>
          <pc:sldMk cId="1679974604" sldId="945"/>
        </pc:sldMkLst>
      </pc:sldChg>
      <pc:sldChg chg="addSp delSp modSp add mod modTransition modClrScheme chgLayout">
        <pc:chgData name="Thomas Stegen" userId="22c4adc426855124" providerId="LiveId" clId="{DBE2C018-B20E-4F3E-BF24-BC1534515AD2}" dt="2024-11-22T11:41:06.046" v="4480"/>
        <pc:sldMkLst>
          <pc:docMk/>
          <pc:sldMk cId="2450386317" sldId="946"/>
        </pc:sldMkLst>
      </pc:sldChg>
      <pc:sldChg chg="modSp add del mod">
        <pc:chgData name="Thomas Stegen" userId="22c4adc426855124" providerId="LiveId" clId="{DBE2C018-B20E-4F3E-BF24-BC1534515AD2}" dt="2024-11-12T15:06:01.489" v="16" actId="47"/>
        <pc:sldMkLst>
          <pc:docMk/>
          <pc:sldMk cId="26471171" sldId="961"/>
        </pc:sldMkLst>
      </pc:sldChg>
      <pc:sldChg chg="addSp delSp modSp add mod modTransition delAnim modAnim">
        <pc:chgData name="Thomas Stegen" userId="22c4adc426855124" providerId="LiveId" clId="{DBE2C018-B20E-4F3E-BF24-BC1534515AD2}" dt="2024-11-22T11:37:29.028" v="4456"/>
        <pc:sldMkLst>
          <pc:docMk/>
          <pc:sldMk cId="302096959" sldId="964"/>
        </pc:sldMkLst>
      </pc:sldChg>
      <pc:sldChg chg="add modTransition">
        <pc:chgData name="Thomas Stegen" userId="22c4adc426855124" providerId="LiveId" clId="{DBE2C018-B20E-4F3E-BF24-BC1534515AD2}" dt="2024-11-22T11:37:29.028" v="4456"/>
        <pc:sldMkLst>
          <pc:docMk/>
          <pc:sldMk cId="2106362747" sldId="968"/>
        </pc:sldMkLst>
      </pc:sldChg>
      <pc:sldChg chg="add del">
        <pc:chgData name="Thomas Stegen" userId="22c4adc426855124" providerId="LiveId" clId="{DBE2C018-B20E-4F3E-BF24-BC1534515AD2}" dt="2024-11-12T15:06:01.489" v="16" actId="47"/>
        <pc:sldMkLst>
          <pc:docMk/>
          <pc:sldMk cId="4214614867" sldId="2147482599"/>
        </pc:sldMkLst>
      </pc:sldChg>
      <pc:sldChg chg="modSp add del mod">
        <pc:chgData name="Thomas Stegen" userId="22c4adc426855124" providerId="LiveId" clId="{DBE2C018-B20E-4F3E-BF24-BC1534515AD2}" dt="2024-11-12T15:06:01.489" v="16" actId="47"/>
        <pc:sldMkLst>
          <pc:docMk/>
          <pc:sldMk cId="3143645845" sldId="2147482600"/>
        </pc:sldMkLst>
      </pc:sldChg>
      <pc:sldChg chg="addSp delSp modSp add mod modTransition">
        <pc:chgData name="Thomas Stegen" userId="22c4adc426855124" providerId="LiveId" clId="{DBE2C018-B20E-4F3E-BF24-BC1534515AD2}" dt="2024-11-22T11:37:29.028" v="4456"/>
        <pc:sldMkLst>
          <pc:docMk/>
          <pc:sldMk cId="3353913379" sldId="2147482601"/>
        </pc:sldMkLst>
      </pc:sldChg>
      <pc:sldChg chg="addSp delSp modSp new del mod modTransition">
        <pc:chgData name="Thomas Stegen" userId="22c4adc426855124" providerId="LiveId" clId="{DBE2C018-B20E-4F3E-BF24-BC1534515AD2}" dt="2024-11-13T12:31:38.018" v="3588" actId="47"/>
        <pc:sldMkLst>
          <pc:docMk/>
          <pc:sldMk cId="279943351" sldId="2147482602"/>
        </pc:sldMkLst>
      </pc:sldChg>
      <pc:sldChg chg="delSp add del mod ord modTransition">
        <pc:chgData name="Thomas Stegen" userId="22c4adc426855124" providerId="LiveId" clId="{DBE2C018-B20E-4F3E-BF24-BC1534515AD2}" dt="2024-11-13T12:31:45.444" v="3589" actId="47"/>
        <pc:sldMkLst>
          <pc:docMk/>
          <pc:sldMk cId="1792523043" sldId="2147482603"/>
        </pc:sldMkLst>
      </pc:sldChg>
      <pc:sldChg chg="add del">
        <pc:chgData name="Thomas Stegen" userId="22c4adc426855124" providerId="LiveId" clId="{DBE2C018-B20E-4F3E-BF24-BC1534515AD2}" dt="2024-11-12T15:38:30.156" v="764"/>
        <pc:sldMkLst>
          <pc:docMk/>
          <pc:sldMk cId="3125270435" sldId="2147482603"/>
        </pc:sldMkLst>
      </pc:sldChg>
      <pc:sldChg chg="delSp add del mod modTransition">
        <pc:chgData name="Thomas Stegen" userId="22c4adc426855124" providerId="LiveId" clId="{DBE2C018-B20E-4F3E-BF24-BC1534515AD2}" dt="2024-11-13T12:31:45.444" v="3589" actId="47"/>
        <pc:sldMkLst>
          <pc:docMk/>
          <pc:sldMk cId="1780755527" sldId="2147482604"/>
        </pc:sldMkLst>
      </pc:sldChg>
      <pc:sldChg chg="add del">
        <pc:chgData name="Thomas Stegen" userId="22c4adc426855124" providerId="LiveId" clId="{DBE2C018-B20E-4F3E-BF24-BC1534515AD2}" dt="2024-11-12T15:38:29.708" v="763"/>
        <pc:sldMkLst>
          <pc:docMk/>
          <pc:sldMk cId="3569539007" sldId="2147482604"/>
        </pc:sldMkLst>
      </pc:sldChg>
      <pc:sldChg chg="delSp add del mod modTransition">
        <pc:chgData name="Thomas Stegen" userId="22c4adc426855124" providerId="LiveId" clId="{DBE2C018-B20E-4F3E-BF24-BC1534515AD2}" dt="2024-11-13T12:31:47.595" v="3590" actId="47"/>
        <pc:sldMkLst>
          <pc:docMk/>
          <pc:sldMk cId="3269807854" sldId="2147482605"/>
        </pc:sldMkLst>
      </pc:sldChg>
      <pc:sldChg chg="delSp add del mod modTransition">
        <pc:chgData name="Thomas Stegen" userId="22c4adc426855124" providerId="LiveId" clId="{DBE2C018-B20E-4F3E-BF24-BC1534515AD2}" dt="2024-11-13T12:31:49.688" v="3591" actId="47"/>
        <pc:sldMkLst>
          <pc:docMk/>
          <pc:sldMk cId="3377388763" sldId="2147482606"/>
        </pc:sldMkLst>
      </pc:sldChg>
      <pc:sldChg chg="addSp delSp modSp add del mod modTransition">
        <pc:chgData name="Thomas Stegen" userId="22c4adc426855124" providerId="LiveId" clId="{DBE2C018-B20E-4F3E-BF24-BC1534515AD2}" dt="2024-11-22T11:37:29.028" v="4456"/>
        <pc:sldMkLst>
          <pc:docMk/>
          <pc:sldMk cId="610393291" sldId="2147482607"/>
        </pc:sldMkLst>
      </pc:sldChg>
      <pc:sldChg chg="new del">
        <pc:chgData name="Thomas Stegen" userId="22c4adc426855124" providerId="LiveId" clId="{DBE2C018-B20E-4F3E-BF24-BC1534515AD2}" dt="2024-11-12T15:46:47.250" v="1203" actId="680"/>
        <pc:sldMkLst>
          <pc:docMk/>
          <pc:sldMk cId="1813860518" sldId="2147482608"/>
        </pc:sldMkLst>
      </pc:sldChg>
      <pc:sldChg chg="addSp delSp modSp new mod modTransition">
        <pc:chgData name="Thomas Stegen" userId="22c4adc426855124" providerId="LiveId" clId="{DBE2C018-B20E-4F3E-BF24-BC1534515AD2}" dt="2024-11-22T11:37:29.028" v="4456"/>
        <pc:sldMkLst>
          <pc:docMk/>
          <pc:sldMk cId="2313969768" sldId="2147482608"/>
        </pc:sldMkLst>
      </pc:sldChg>
      <pc:sldChg chg="modSp add mod ord modTransition">
        <pc:chgData name="Thomas Stegen" userId="22c4adc426855124" providerId="LiveId" clId="{DBE2C018-B20E-4F3E-BF24-BC1534515AD2}" dt="2024-11-22T11:37:29.028" v="4456"/>
        <pc:sldMkLst>
          <pc:docMk/>
          <pc:sldMk cId="3242279343" sldId="2147482609"/>
        </pc:sldMkLst>
      </pc:sldChg>
      <pc:sldChg chg="addSp delSp modSp add mod ord modTransition">
        <pc:chgData name="Thomas Stegen" userId="22c4adc426855124" providerId="LiveId" clId="{DBE2C018-B20E-4F3E-BF24-BC1534515AD2}" dt="2024-11-22T11:37:29.028" v="4456"/>
        <pc:sldMkLst>
          <pc:docMk/>
          <pc:sldMk cId="1935874160" sldId="2147482610"/>
        </pc:sldMkLst>
      </pc:sldChg>
      <pc:sldChg chg="add del">
        <pc:chgData name="Thomas Stegen" userId="22c4adc426855124" providerId="LiveId" clId="{DBE2C018-B20E-4F3E-BF24-BC1534515AD2}" dt="2024-11-13T12:49:07.403" v="3705" actId="47"/>
        <pc:sldMkLst>
          <pc:docMk/>
          <pc:sldMk cId="475577382" sldId="2147482611"/>
        </pc:sldMkLst>
      </pc:sldChg>
      <pc:sldChg chg="add del">
        <pc:chgData name="Thomas Stegen" userId="22c4adc426855124" providerId="LiveId" clId="{DBE2C018-B20E-4F3E-BF24-BC1534515AD2}" dt="2024-11-13T12:32:59.173" v="3620"/>
        <pc:sldMkLst>
          <pc:docMk/>
          <pc:sldMk cId="1855951829" sldId="2147482611"/>
        </pc:sldMkLst>
      </pc:sldChg>
      <pc:sldChg chg="add del">
        <pc:chgData name="Thomas Stegen" userId="22c4adc426855124" providerId="LiveId" clId="{DBE2C018-B20E-4F3E-BF24-BC1534515AD2}" dt="2024-11-13T12:32:58.505" v="3619"/>
        <pc:sldMkLst>
          <pc:docMk/>
          <pc:sldMk cId="2169904458" sldId="2147482612"/>
        </pc:sldMkLst>
      </pc:sldChg>
      <pc:sldChg chg="add del modTransition">
        <pc:chgData name="Thomas Stegen" userId="22c4adc426855124" providerId="LiveId" clId="{DBE2C018-B20E-4F3E-BF24-BC1534515AD2}" dt="2024-11-13T12:57:27.223" v="4053" actId="47"/>
        <pc:sldMkLst>
          <pc:docMk/>
          <pc:sldMk cId="2482013455" sldId="2147482612"/>
        </pc:sldMkLst>
      </pc:sldChg>
      <pc:sldChg chg="add del">
        <pc:chgData name="Thomas Stegen" userId="22c4adc426855124" providerId="LiveId" clId="{DBE2C018-B20E-4F3E-BF24-BC1534515AD2}" dt="2024-11-13T12:32:57.857" v="3618"/>
        <pc:sldMkLst>
          <pc:docMk/>
          <pc:sldMk cId="2931260257" sldId="2147482613"/>
        </pc:sldMkLst>
      </pc:sldChg>
      <pc:sldChg chg="add del modTransition">
        <pc:chgData name="Thomas Stegen" userId="22c4adc426855124" providerId="LiveId" clId="{DBE2C018-B20E-4F3E-BF24-BC1534515AD2}" dt="2024-11-13T12:57:37.029" v="4055" actId="47"/>
        <pc:sldMkLst>
          <pc:docMk/>
          <pc:sldMk cId="3765983871" sldId="2147482613"/>
        </pc:sldMkLst>
      </pc:sldChg>
      <pc:sldChg chg="add del">
        <pc:chgData name="Thomas Stegen" userId="22c4adc426855124" providerId="LiveId" clId="{DBE2C018-B20E-4F3E-BF24-BC1534515AD2}" dt="2024-11-13T12:32:56.402" v="3617"/>
        <pc:sldMkLst>
          <pc:docMk/>
          <pc:sldMk cId="22650882" sldId="2147482614"/>
        </pc:sldMkLst>
      </pc:sldChg>
      <pc:sldChg chg="modSp add del mod modTransition">
        <pc:chgData name="Thomas Stegen" userId="22c4adc426855124" providerId="LiveId" clId="{DBE2C018-B20E-4F3E-BF24-BC1534515AD2}" dt="2024-11-13T12:57:12.983" v="4047" actId="47"/>
        <pc:sldMkLst>
          <pc:docMk/>
          <pc:sldMk cId="254706467" sldId="2147482614"/>
        </pc:sldMkLst>
      </pc:sldChg>
      <pc:sldChg chg="add del">
        <pc:chgData name="Thomas Stegen" userId="22c4adc426855124" providerId="LiveId" clId="{DBE2C018-B20E-4F3E-BF24-BC1534515AD2}" dt="2024-11-13T12:48:13.757" v="3698" actId="47"/>
        <pc:sldMkLst>
          <pc:docMk/>
          <pc:sldMk cId="545341379" sldId="2147482614"/>
        </pc:sldMkLst>
      </pc:sldChg>
      <pc:sldChg chg="add del modTransition">
        <pc:chgData name="Thomas Stegen" userId="22c4adc426855124" providerId="LiveId" clId="{DBE2C018-B20E-4F3E-BF24-BC1534515AD2}" dt="2024-11-13T12:57:18.328" v="4051" actId="47"/>
        <pc:sldMkLst>
          <pc:docMk/>
          <pc:sldMk cId="1246245552" sldId="2147482615"/>
        </pc:sldMkLst>
      </pc:sldChg>
      <pc:sldChg chg="addSp delSp modSp add del mod">
        <pc:chgData name="Thomas Stegen" userId="22c4adc426855124" providerId="LiveId" clId="{DBE2C018-B20E-4F3E-BF24-BC1534515AD2}" dt="2024-11-14T11:11:18.499" v="4410" actId="47"/>
        <pc:sldMkLst>
          <pc:docMk/>
          <pc:sldMk cId="1128948369" sldId="2147482616"/>
        </pc:sldMkLst>
      </pc:sldChg>
      <pc:sldChg chg="add del">
        <pc:chgData name="Thomas Stegen" userId="22c4adc426855124" providerId="LiveId" clId="{DBE2C018-B20E-4F3E-BF24-BC1534515AD2}" dt="2024-11-13T12:57:14.367" v="4049"/>
        <pc:sldMkLst>
          <pc:docMk/>
          <pc:sldMk cId="1604035076" sldId="2147482616"/>
        </pc:sldMkLst>
      </pc:sldChg>
      <pc:sldChg chg="add del">
        <pc:chgData name="Thomas Stegen" userId="22c4adc426855124" providerId="LiveId" clId="{DBE2C018-B20E-4F3E-BF24-BC1534515AD2}" dt="2024-11-14T11:11:19.720" v="4411" actId="47"/>
        <pc:sldMkLst>
          <pc:docMk/>
          <pc:sldMk cId="937336781" sldId="2147482617"/>
        </pc:sldMkLst>
      </pc:sldChg>
      <pc:sldChg chg="add del">
        <pc:chgData name="Thomas Stegen" userId="22c4adc426855124" providerId="LiveId" clId="{DBE2C018-B20E-4F3E-BF24-BC1534515AD2}" dt="2024-11-14T11:11:20.703" v="4412" actId="47"/>
        <pc:sldMkLst>
          <pc:docMk/>
          <pc:sldMk cId="3228385932" sldId="2147482618"/>
        </pc:sldMkLst>
      </pc:sldChg>
      <pc:sldChg chg="add del">
        <pc:chgData name="Thomas Stegen" userId="22c4adc426855124" providerId="LiveId" clId="{DBE2C018-B20E-4F3E-BF24-BC1534515AD2}" dt="2024-11-14T11:11:26.527" v="4413" actId="47"/>
        <pc:sldMkLst>
          <pc:docMk/>
          <pc:sldMk cId="3839694101" sldId="2147482619"/>
        </pc:sldMkLst>
      </pc:sldChg>
      <pc:sldChg chg="modSp add mod ord modTransition">
        <pc:chgData name="Thomas Stegen" userId="22c4adc426855124" providerId="LiveId" clId="{DBE2C018-B20E-4F3E-BF24-BC1534515AD2}" dt="2024-11-22T11:37:29.028" v="4456"/>
        <pc:sldMkLst>
          <pc:docMk/>
          <pc:sldMk cId="3176342883" sldId="2147482620"/>
        </pc:sldMkLst>
      </pc:sldChg>
      <pc:sldChg chg="add del">
        <pc:chgData name="Thomas Stegen" userId="22c4adc426855124" providerId="LiveId" clId="{DBE2C018-B20E-4F3E-BF24-BC1534515AD2}" dt="2024-11-14T11:11:17.458" v="4409" actId="47"/>
        <pc:sldMkLst>
          <pc:docMk/>
          <pc:sldMk cId="3463798971" sldId="2147482621"/>
        </pc:sldMkLst>
      </pc:sldChg>
      <pc:sldChg chg="add modTransition">
        <pc:chgData name="Thomas Stegen" userId="22c4adc426855124" providerId="LiveId" clId="{DBE2C018-B20E-4F3E-BF24-BC1534515AD2}" dt="2024-11-22T11:37:29.028" v="4456"/>
        <pc:sldMkLst>
          <pc:docMk/>
          <pc:sldMk cId="3895625362" sldId="2147482621"/>
        </pc:sldMkLst>
      </pc:sldChg>
      <pc:sldChg chg="add modTransition">
        <pc:chgData name="Thomas Stegen" userId="22c4adc426855124" providerId="LiveId" clId="{DBE2C018-B20E-4F3E-BF24-BC1534515AD2}" dt="2024-11-22T11:37:29.028" v="4456"/>
        <pc:sldMkLst>
          <pc:docMk/>
          <pc:sldMk cId="1327773914" sldId="2147482622"/>
        </pc:sldMkLst>
      </pc:sldChg>
      <pc:sldChg chg="add modTransition">
        <pc:chgData name="Thomas Stegen" userId="22c4adc426855124" providerId="LiveId" clId="{DBE2C018-B20E-4F3E-BF24-BC1534515AD2}" dt="2024-11-22T11:37:29.028" v="4456"/>
        <pc:sldMkLst>
          <pc:docMk/>
          <pc:sldMk cId="134310606" sldId="2147482623"/>
        </pc:sldMkLst>
      </pc:sldChg>
      <pc:sldChg chg="modSp add mod modTransition">
        <pc:chgData name="Thomas Stegen" userId="22c4adc426855124" providerId="LiveId" clId="{DBE2C018-B20E-4F3E-BF24-BC1534515AD2}" dt="2024-11-22T11:41:33.436" v="4482"/>
        <pc:sldMkLst>
          <pc:docMk/>
          <pc:sldMk cId="1023764705" sldId="2147482624"/>
        </pc:sldMkLst>
      </pc:sldChg>
      <pc:sldMasterChg chg="modSp mod modTransition modSldLayout">
        <pc:chgData name="Thomas Stegen" userId="22c4adc426855124" providerId="LiveId" clId="{DBE2C018-B20E-4F3E-BF24-BC1534515AD2}" dt="2024-11-22T11:37:29.028" v="4456"/>
        <pc:sldMasterMkLst>
          <pc:docMk/>
          <pc:sldMasterMk cId="3788491472" sldId="2147483648"/>
        </pc:sldMasterMkLst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2830576796" sldId="2147483649"/>
          </pc:sldLayoutMkLst>
        </pc:sldLayoutChg>
        <pc:sldLayoutChg chg="addSp delSp modSp mod 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2936883607" sldId="2147483650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372238185" sldId="2147483651"/>
          </pc:sldLayoutMkLst>
        </pc:sldLayoutChg>
        <pc:sldLayoutChg chg="addSp delSp modSp mod 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1085995990" sldId="2147483652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1788861054" sldId="2147483653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248164916" sldId="2147483654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4197255268" sldId="2147483655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2251114938" sldId="2147483656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1832709642" sldId="2147483657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77758257" sldId="2147483658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4284322808" sldId="2147483659"/>
          </pc:sldLayoutMkLst>
        </pc:sldLayoutChg>
        <pc:sldLayoutChg chg="addSp delSp modSp mod 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2044504771" sldId="2147483660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561284586" sldId="2147483661"/>
          </pc:sldLayoutMkLst>
        </pc:sldLayoutChg>
        <pc:sldLayoutChg chg="addSp delSp modSp mod 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3879423323" sldId="2147483662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1539450209" sldId="2147483663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1687604561" sldId="2147483664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3144331820" sldId="2147483665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1766445646" sldId="2147483666"/>
          </pc:sldLayoutMkLst>
        </pc:sldLayoutChg>
        <pc:sldLayoutChg chg="addSp delSp modSp mod 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469720912" sldId="2147483667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1737572305" sldId="2147483669"/>
          </pc:sldLayoutMkLst>
        </pc:sldLayoutChg>
      </pc:sldMasterChg>
    </pc:docChg>
  </pc:docChgLst>
  <pc:docChgLst>
    <pc:chgData name="Thomas Stegen" userId="22c4adc426855124" providerId="LiveId" clId="{6DF6D2E0-0D87-47CA-805B-6839F83E6757}"/>
    <pc:docChg chg="undo redo custSel addSld delSld modSld">
      <pc:chgData name="Thomas Stegen" userId="22c4adc426855124" providerId="LiveId" clId="{6DF6D2E0-0D87-47CA-805B-6839F83E6757}" dt="2024-06-13T07:35:44.235" v="1000" actId="20577"/>
      <pc:docMkLst>
        <pc:docMk/>
      </pc:docMkLst>
      <pc:sldChg chg="modNotesTx">
        <pc:chgData name="Thomas Stegen" userId="22c4adc426855124" providerId="LiveId" clId="{6DF6D2E0-0D87-47CA-805B-6839F83E6757}" dt="2024-06-13T07:35:44.235" v="1000" actId="20577"/>
        <pc:sldMkLst>
          <pc:docMk/>
          <pc:sldMk cId="2716020180" sldId="875"/>
        </pc:sldMkLst>
      </pc:sldChg>
      <pc:sldChg chg="modSp mod modNotesTx">
        <pc:chgData name="Thomas Stegen" userId="22c4adc426855124" providerId="LiveId" clId="{6DF6D2E0-0D87-47CA-805B-6839F83E6757}" dt="2024-06-13T07:32:03.170" v="887" actId="20577"/>
        <pc:sldMkLst>
          <pc:docMk/>
          <pc:sldMk cId="372174418" sldId="880"/>
        </pc:sldMkLst>
      </pc:sldChg>
      <pc:sldChg chg="modSp mod">
        <pc:chgData name="Thomas Stegen" userId="22c4adc426855124" providerId="LiveId" clId="{6DF6D2E0-0D87-47CA-805B-6839F83E6757}" dt="2024-02-01T10:24:53.504" v="86" actId="27636"/>
        <pc:sldMkLst>
          <pc:docMk/>
          <pc:sldMk cId="2137363152" sldId="881"/>
        </pc:sldMkLst>
      </pc:sldChg>
      <pc:sldChg chg="modSp mod">
        <pc:chgData name="Thomas Stegen" userId="22c4adc426855124" providerId="LiveId" clId="{6DF6D2E0-0D87-47CA-805B-6839F83E6757}" dt="2024-02-01T10:21:45.492" v="55" actId="207"/>
        <pc:sldMkLst>
          <pc:docMk/>
          <pc:sldMk cId="380814300" sldId="884"/>
        </pc:sldMkLst>
      </pc:sldChg>
      <pc:sldChg chg="modSp mod">
        <pc:chgData name="Thomas Stegen" userId="22c4adc426855124" providerId="LiveId" clId="{6DF6D2E0-0D87-47CA-805B-6839F83E6757}" dt="2024-02-01T10:23:10.339" v="59" actId="207"/>
        <pc:sldMkLst>
          <pc:docMk/>
          <pc:sldMk cId="3670356188" sldId="885"/>
        </pc:sldMkLst>
      </pc:sldChg>
      <pc:sldChg chg="modSp mod">
        <pc:chgData name="Thomas Stegen" userId="22c4adc426855124" providerId="LiveId" clId="{6DF6D2E0-0D87-47CA-805B-6839F83E6757}" dt="2024-02-01T12:42:38.686" v="148" actId="1076"/>
        <pc:sldMkLst>
          <pc:docMk/>
          <pc:sldMk cId="17849629" sldId="892"/>
        </pc:sldMkLst>
      </pc:sldChg>
      <pc:sldChg chg="del">
        <pc:chgData name="Thomas Stegen" userId="22c4adc426855124" providerId="LiveId" clId="{6DF6D2E0-0D87-47CA-805B-6839F83E6757}" dt="2024-02-01T12:46:30.538" v="151" actId="47"/>
        <pc:sldMkLst>
          <pc:docMk/>
          <pc:sldMk cId="526278645" sldId="898"/>
        </pc:sldMkLst>
      </pc:sldChg>
      <pc:sldChg chg="add del">
        <pc:chgData name="Thomas Stegen" userId="22c4adc426855124" providerId="LiveId" clId="{6DF6D2E0-0D87-47CA-805B-6839F83E6757}" dt="2024-02-01T12:49:19.838" v="157" actId="47"/>
        <pc:sldMkLst>
          <pc:docMk/>
          <pc:sldMk cId="4068477797" sldId="899"/>
        </pc:sldMkLst>
      </pc:sldChg>
      <pc:sldChg chg="addSp modSp mod">
        <pc:chgData name="Thomas Stegen" userId="22c4adc426855124" providerId="LiveId" clId="{6DF6D2E0-0D87-47CA-805B-6839F83E6757}" dt="2024-03-21T17:59:09.899" v="726" actId="20577"/>
        <pc:sldMkLst>
          <pc:docMk/>
          <pc:sldMk cId="2546550359" sldId="900"/>
        </pc:sldMkLst>
      </pc:sldChg>
      <pc:sldChg chg="del">
        <pc:chgData name="Thomas Stegen" userId="22c4adc426855124" providerId="LiveId" clId="{6DF6D2E0-0D87-47CA-805B-6839F83E6757}" dt="2024-02-01T12:46:30.538" v="151" actId="47"/>
        <pc:sldMkLst>
          <pc:docMk/>
          <pc:sldMk cId="1467284486" sldId="901"/>
        </pc:sldMkLst>
      </pc:sldChg>
      <pc:sldChg chg="del modTransition modAnim">
        <pc:chgData name="Thomas Stegen" userId="22c4adc426855124" providerId="LiveId" clId="{6DF6D2E0-0D87-47CA-805B-6839F83E6757}" dt="2024-02-01T12:54:33.280" v="298" actId="47"/>
        <pc:sldMkLst>
          <pc:docMk/>
          <pc:sldMk cId="2179263061" sldId="902"/>
        </pc:sldMkLst>
      </pc:sldChg>
      <pc:sldChg chg="add modNotesTx">
        <pc:chgData name="Thomas Stegen" userId="22c4adc426855124" providerId="LiveId" clId="{6DF6D2E0-0D87-47CA-805B-6839F83E6757}" dt="2024-06-13T07:24:03.374" v="744" actId="20577"/>
        <pc:sldMkLst>
          <pc:docMk/>
          <pc:sldMk cId="2888962439" sldId="903"/>
        </pc:sldMkLst>
      </pc:sldChg>
      <pc:sldChg chg="addSp delSp modSp add mod modNotesTx">
        <pc:chgData name="Thomas Stegen" userId="22c4adc426855124" providerId="LiveId" clId="{6DF6D2E0-0D87-47CA-805B-6839F83E6757}" dt="2024-06-13T07:30:21.572" v="816" actId="20577"/>
        <pc:sldMkLst>
          <pc:docMk/>
          <pc:sldMk cId="2862817810" sldId="904"/>
        </pc:sldMkLst>
      </pc:sldChg>
      <pc:sldChg chg="modSp add mod">
        <pc:chgData name="Thomas Stegen" userId="22c4adc426855124" providerId="LiveId" clId="{6DF6D2E0-0D87-47CA-805B-6839F83E6757}" dt="2024-02-01T13:01:07.523" v="718" actId="6549"/>
        <pc:sldMkLst>
          <pc:docMk/>
          <pc:sldMk cId="3051306932" sldId="905"/>
        </pc:sldMkLst>
      </pc:sldChg>
    </pc:docChg>
  </pc:docChgLst>
  <pc:docChgLst>
    <pc:chgData name="Thomas Stegen" userId="22c4adc426855124" providerId="LiveId" clId="{65E4CEE5-3193-488C-A90C-07A402AE75FC}"/>
    <pc:docChg chg="undo redo custSel addSld delSld modSld sldOrd modMainMaster">
      <pc:chgData name="Thomas Stegen" userId="22c4adc426855124" providerId="LiveId" clId="{65E4CEE5-3193-488C-A90C-07A402AE75FC}" dt="2025-04-22T13:09:29.822" v="3612" actId="27803"/>
      <pc:docMkLst>
        <pc:docMk/>
      </pc:docMkLst>
      <pc:sldChg chg="modSp mod">
        <pc:chgData name="Thomas Stegen" userId="22c4adc426855124" providerId="LiveId" clId="{65E4CEE5-3193-488C-A90C-07A402AE75FC}" dt="2025-04-18T08:02:45.410" v="189" actId="20577"/>
        <pc:sldMkLst>
          <pc:docMk/>
          <pc:sldMk cId="299449681" sldId="256"/>
        </pc:sldMkLst>
        <pc:spChg chg="mod">
          <ac:chgData name="Thomas Stegen" userId="22c4adc426855124" providerId="LiveId" clId="{65E4CEE5-3193-488C-A90C-07A402AE75FC}" dt="2025-04-18T08:02:22.364" v="132" actId="20577"/>
          <ac:spMkLst>
            <pc:docMk/>
            <pc:sldMk cId="299449681" sldId="256"/>
            <ac:spMk id="2" creationId="{FF3E1829-38DF-E012-DBC2-15E60E907B72}"/>
          </ac:spMkLst>
        </pc:spChg>
        <pc:spChg chg="mod">
          <ac:chgData name="Thomas Stegen" userId="22c4adc426855124" providerId="LiveId" clId="{65E4CEE5-3193-488C-A90C-07A402AE75FC}" dt="2025-04-18T08:02:37.697" v="176" actId="20577"/>
          <ac:spMkLst>
            <pc:docMk/>
            <pc:sldMk cId="299449681" sldId="256"/>
            <ac:spMk id="3" creationId="{397EA58A-6A4C-856D-8C1F-B97F64CA1912}"/>
          </ac:spMkLst>
        </pc:spChg>
        <pc:spChg chg="mod">
          <ac:chgData name="Thomas Stegen" userId="22c4adc426855124" providerId="LiveId" clId="{65E4CEE5-3193-488C-A90C-07A402AE75FC}" dt="2025-04-18T08:02:45.410" v="189" actId="20577"/>
          <ac:spMkLst>
            <pc:docMk/>
            <pc:sldMk cId="299449681" sldId="256"/>
            <ac:spMk id="5" creationId="{9E507849-6F8C-8FC3-4286-DCBA89A4B7BC}"/>
          </ac:spMkLst>
        </pc:spChg>
      </pc:sldChg>
      <pc:sldChg chg="del">
        <pc:chgData name="Thomas Stegen" userId="22c4adc426855124" providerId="LiveId" clId="{65E4CEE5-3193-488C-A90C-07A402AE75FC}" dt="2025-04-18T08:04:42.399" v="192" actId="47"/>
        <pc:sldMkLst>
          <pc:docMk/>
          <pc:sldMk cId="402823984" sldId="264"/>
        </pc:sldMkLst>
      </pc:sldChg>
      <pc:sldChg chg="del">
        <pc:chgData name="Thomas Stegen" userId="22c4adc426855124" providerId="LiveId" clId="{65E4CEE5-3193-488C-A90C-07A402AE75FC}" dt="2025-04-18T08:04:42.399" v="192" actId="47"/>
        <pc:sldMkLst>
          <pc:docMk/>
          <pc:sldMk cId="622829955" sldId="270"/>
        </pc:sldMkLst>
      </pc:sldChg>
      <pc:sldChg chg="modSp mod">
        <pc:chgData name="Thomas Stegen" userId="22c4adc426855124" providerId="LiveId" clId="{65E4CEE5-3193-488C-A90C-07A402AE75FC}" dt="2025-04-18T08:04:53.147" v="212" actId="20577"/>
        <pc:sldMkLst>
          <pc:docMk/>
          <pc:sldMk cId="633783885" sldId="275"/>
        </pc:sldMkLst>
        <pc:spChg chg="mod">
          <ac:chgData name="Thomas Stegen" userId="22c4adc426855124" providerId="LiveId" clId="{65E4CEE5-3193-488C-A90C-07A402AE75FC}" dt="2025-04-18T08:04:53.147" v="212" actId="20577"/>
          <ac:spMkLst>
            <pc:docMk/>
            <pc:sldMk cId="633783885" sldId="275"/>
            <ac:spMk id="31" creationId="{89588C4B-CCB3-6358-086E-C08910C6A412}"/>
          </ac:spMkLst>
        </pc:spChg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790761882" sldId="879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3670356188" sldId="885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2922005027" sldId="890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1161760403" sldId="891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48254404" sldId="894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4249744296" sldId="895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3838290289" sldId="897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878153879" sldId="903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1764171886" sldId="913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3656798939" sldId="937"/>
        </pc:sldMkLst>
      </pc:sldChg>
      <pc:sldChg chg="del">
        <pc:chgData name="Thomas Stegen" userId="22c4adc426855124" providerId="LiveId" clId="{65E4CEE5-3193-488C-A90C-07A402AE75FC}" dt="2025-04-18T08:01:42.257" v="2" actId="47"/>
        <pc:sldMkLst>
          <pc:docMk/>
          <pc:sldMk cId="299236410" sldId="943"/>
        </pc:sldMkLst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1679974604" sldId="945"/>
        </pc:sldMkLst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2450386317" sldId="946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302096959" sldId="964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235187270" sldId="967"/>
        </pc:sldMkLst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2106362747" sldId="968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3353913379" sldId="2147482601"/>
        </pc:sldMkLst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610393291" sldId="2147482607"/>
        </pc:sldMkLst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1023764705" sldId="2147482624"/>
        </pc:sldMkLst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857946924" sldId="2147482625"/>
        </pc:sldMkLst>
      </pc:sldChg>
      <pc:sldChg chg="delSp modSp mod">
        <pc:chgData name="Thomas Stegen" userId="22c4adc426855124" providerId="LiveId" clId="{65E4CEE5-3193-488C-A90C-07A402AE75FC}" dt="2025-04-18T11:58:01.633" v="2042" actId="20577"/>
        <pc:sldMkLst>
          <pc:docMk/>
          <pc:sldMk cId="444886421" sldId="2147482627"/>
        </pc:sldMkLst>
        <pc:spChg chg="mod">
          <ac:chgData name="Thomas Stegen" userId="22c4adc426855124" providerId="LiveId" clId="{65E4CEE5-3193-488C-A90C-07A402AE75FC}" dt="2025-04-18T11:58:01.633" v="2042" actId="20577"/>
          <ac:spMkLst>
            <pc:docMk/>
            <pc:sldMk cId="444886421" sldId="2147482627"/>
            <ac:spMk id="5" creationId="{88BC0868-9D90-3DCC-97AC-9FBECA1847EC}"/>
          </ac:spMkLst>
        </pc:spChg>
        <pc:spChg chg="mod">
          <ac:chgData name="Thomas Stegen" userId="22c4adc426855124" providerId="LiveId" clId="{65E4CEE5-3193-488C-A90C-07A402AE75FC}" dt="2025-04-18T11:57:22.804" v="1987" actId="20577"/>
          <ac:spMkLst>
            <pc:docMk/>
            <pc:sldMk cId="444886421" sldId="2147482627"/>
            <ac:spMk id="12" creationId="{34CD69AB-1DB2-FA9D-F5B5-CE81BFF83B49}"/>
          </ac:spMkLst>
        </pc:spChg>
      </pc:sldChg>
      <pc:sldChg chg="modSp mod ord">
        <pc:chgData name="Thomas Stegen" userId="22c4adc426855124" providerId="LiveId" clId="{65E4CEE5-3193-488C-A90C-07A402AE75FC}" dt="2025-04-18T08:15:33.097" v="732"/>
        <pc:sldMkLst>
          <pc:docMk/>
          <pc:sldMk cId="3988556253" sldId="2147482628"/>
        </pc:sldMkLst>
        <pc:spChg chg="mod">
          <ac:chgData name="Thomas Stegen" userId="22c4adc426855124" providerId="LiveId" clId="{65E4CEE5-3193-488C-A90C-07A402AE75FC}" dt="2025-04-18T08:05:17.731" v="251" actId="20577"/>
          <ac:spMkLst>
            <pc:docMk/>
            <pc:sldMk cId="3988556253" sldId="2147482628"/>
            <ac:spMk id="4" creationId="{5B864D99-1C65-2CCE-7346-8246E2AFE9D2}"/>
          </ac:spMkLst>
        </pc:spChg>
      </pc:sldChg>
      <pc:sldChg chg="modSp mod">
        <pc:chgData name="Thomas Stegen" userId="22c4adc426855124" providerId="LiveId" clId="{65E4CEE5-3193-488C-A90C-07A402AE75FC}" dt="2025-04-18T08:01:52.420" v="30" actId="20577"/>
        <pc:sldMkLst>
          <pc:docMk/>
          <pc:sldMk cId="798998216" sldId="2147482630"/>
        </pc:sldMkLst>
        <pc:spChg chg="mod">
          <ac:chgData name="Thomas Stegen" userId="22c4adc426855124" providerId="LiveId" clId="{65E4CEE5-3193-488C-A90C-07A402AE75FC}" dt="2025-04-18T08:01:52.420" v="30" actId="20577"/>
          <ac:spMkLst>
            <pc:docMk/>
            <pc:sldMk cId="798998216" sldId="2147482630"/>
            <ac:spMk id="2" creationId="{4F1F3313-22D0-B669-A798-D3579EC6917E}"/>
          </ac:spMkLst>
        </pc:spChg>
      </pc:sldChg>
      <pc:sldChg chg="addSp delSp modSp add mod modClrScheme addAnim delAnim chgLayout">
        <pc:chgData name="Thomas Stegen" userId="22c4adc426855124" providerId="LiveId" clId="{65E4CEE5-3193-488C-A90C-07A402AE75FC}" dt="2025-04-18T08:38:52.857" v="1337" actId="20577"/>
        <pc:sldMkLst>
          <pc:docMk/>
          <pc:sldMk cId="2136837991" sldId="2147482631"/>
        </pc:sldMkLst>
        <pc:spChg chg="mod ord">
          <ac:chgData name="Thomas Stegen" userId="22c4adc426855124" providerId="LiveId" clId="{65E4CEE5-3193-488C-A90C-07A402AE75FC}" dt="2025-04-18T08:34:59.994" v="744" actId="700"/>
          <ac:spMkLst>
            <pc:docMk/>
            <pc:sldMk cId="2136837991" sldId="2147482631"/>
            <ac:spMk id="9" creationId="{38E8E962-7077-D61D-A5B3-4BEA85D419B6}"/>
          </ac:spMkLst>
        </pc:spChg>
        <pc:spChg chg="mod ord">
          <ac:chgData name="Thomas Stegen" userId="22c4adc426855124" providerId="LiveId" clId="{65E4CEE5-3193-488C-A90C-07A402AE75FC}" dt="2025-04-18T08:34:59.994" v="744" actId="700"/>
          <ac:spMkLst>
            <pc:docMk/>
            <pc:sldMk cId="2136837991" sldId="2147482631"/>
            <ac:spMk id="31" creationId="{2FE5A4DC-9E88-7499-65F8-1157D707E3BC}"/>
          </ac:spMkLst>
        </pc:spChg>
        <pc:spChg chg="add mod ord">
          <ac:chgData name="Thomas Stegen" userId="22c4adc426855124" providerId="LiveId" clId="{65E4CEE5-3193-488C-A90C-07A402AE75FC}" dt="2025-04-18T08:35:21.735" v="827" actId="20577"/>
          <ac:spMkLst>
            <pc:docMk/>
            <pc:sldMk cId="2136837991" sldId="2147482631"/>
            <ac:spMk id="41" creationId="{E730EB95-BE70-559E-B436-5BAD9EF91F49}"/>
          </ac:spMkLst>
        </pc:spChg>
        <pc:spChg chg="add mod ord">
          <ac:chgData name="Thomas Stegen" userId="22c4adc426855124" providerId="LiveId" clId="{65E4CEE5-3193-488C-A90C-07A402AE75FC}" dt="2025-04-18T08:35:44.046" v="911" actId="20577"/>
          <ac:spMkLst>
            <pc:docMk/>
            <pc:sldMk cId="2136837991" sldId="2147482631"/>
            <ac:spMk id="42" creationId="{5FB92474-8429-32AF-5B6B-42AC4F095299}"/>
          </ac:spMkLst>
        </pc:spChg>
        <pc:spChg chg="mod">
          <ac:chgData name="Thomas Stegen" userId="22c4adc426855124" providerId="LiveId" clId="{65E4CEE5-3193-488C-A90C-07A402AE75FC}" dt="2025-04-18T08:36:56.792" v="1103" actId="20577"/>
          <ac:spMkLst>
            <pc:docMk/>
            <pc:sldMk cId="2136837991" sldId="2147482631"/>
            <ac:spMk id="43" creationId="{A347DC30-7F4A-B9DA-0A84-3F688272CC71}"/>
          </ac:spMkLst>
        </pc:spChg>
        <pc:spChg chg="add mod ord">
          <ac:chgData name="Thomas Stegen" userId="22c4adc426855124" providerId="LiveId" clId="{65E4CEE5-3193-488C-A90C-07A402AE75FC}" dt="2025-04-18T08:37:05.802" v="1143" actId="20577"/>
          <ac:spMkLst>
            <pc:docMk/>
            <pc:sldMk cId="2136837991" sldId="2147482631"/>
            <ac:spMk id="44" creationId="{EDA88546-5CEE-0717-5FDA-1106892C6375}"/>
          </ac:spMkLst>
        </pc:spChg>
        <pc:spChg chg="add mod ord">
          <ac:chgData name="Thomas Stegen" userId="22c4adc426855124" providerId="LiveId" clId="{65E4CEE5-3193-488C-A90C-07A402AE75FC}" dt="2025-04-18T08:38:52.857" v="1337" actId="20577"/>
          <ac:spMkLst>
            <pc:docMk/>
            <pc:sldMk cId="2136837991" sldId="2147482631"/>
            <ac:spMk id="45" creationId="{E5A4D9E1-E03F-B509-49D9-9AD72FA2348D}"/>
          </ac:spMkLst>
        </pc:spChg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3688886320" sldId="2147482631"/>
        </pc:sldMkLst>
      </pc:sldChg>
      <pc:sldChg chg="addSp delSp modSp new mod">
        <pc:chgData name="Thomas Stegen" userId="22c4adc426855124" providerId="LiveId" clId="{65E4CEE5-3193-488C-A90C-07A402AE75FC}" dt="2025-04-18T12:06:33.041" v="2663" actId="20577"/>
        <pc:sldMkLst>
          <pc:docMk/>
          <pc:sldMk cId="932115494" sldId="2147482632"/>
        </pc:sldMkLst>
        <pc:spChg chg="mod">
          <ac:chgData name="Thomas Stegen" userId="22c4adc426855124" providerId="LiveId" clId="{65E4CEE5-3193-488C-A90C-07A402AE75FC}" dt="2025-04-18T12:06:33.041" v="2663" actId="20577"/>
          <ac:spMkLst>
            <pc:docMk/>
            <pc:sldMk cId="932115494" sldId="2147482632"/>
            <ac:spMk id="4" creationId="{35248512-620D-BB2A-A365-A8ADECFB0317}"/>
          </ac:spMkLst>
        </pc:spChg>
        <pc:spChg chg="add mod">
          <ac:chgData name="Thomas Stegen" userId="22c4adc426855124" providerId="LiveId" clId="{65E4CEE5-3193-488C-A90C-07A402AE75FC}" dt="2025-04-18T12:03:23.166" v="2300" actId="20577"/>
          <ac:spMkLst>
            <pc:docMk/>
            <pc:sldMk cId="932115494" sldId="2147482632"/>
            <ac:spMk id="5" creationId="{1B2B56E3-C563-F81D-B9C7-79A6A7ACED57}"/>
          </ac:spMkLst>
        </pc:spChg>
        <pc:spChg chg="add mod">
          <ac:chgData name="Thomas Stegen" userId="22c4adc426855124" providerId="LiveId" clId="{65E4CEE5-3193-488C-A90C-07A402AE75FC}" dt="2025-04-18T12:00:49.439" v="2172" actId="1076"/>
          <ac:spMkLst>
            <pc:docMk/>
            <pc:sldMk cId="932115494" sldId="2147482632"/>
            <ac:spMk id="6" creationId="{4EFA9441-7761-67F5-E1CD-F7DE3F7ECC72}"/>
          </ac:spMkLst>
        </pc:spChg>
        <pc:spChg chg="add mod">
          <ac:chgData name="Thomas Stegen" userId="22c4adc426855124" providerId="LiveId" clId="{65E4CEE5-3193-488C-A90C-07A402AE75FC}" dt="2025-04-18T12:03:43.670" v="2338" actId="20577"/>
          <ac:spMkLst>
            <pc:docMk/>
            <pc:sldMk cId="932115494" sldId="2147482632"/>
            <ac:spMk id="7" creationId="{8913CF79-B3CD-96DE-5C17-7FED7A034FAE}"/>
          </ac:spMkLst>
        </pc:spChg>
        <pc:spChg chg="add mod">
          <ac:chgData name="Thomas Stegen" userId="22c4adc426855124" providerId="LiveId" clId="{65E4CEE5-3193-488C-A90C-07A402AE75FC}" dt="2025-04-18T12:00:01.672" v="2126" actId="20577"/>
          <ac:spMkLst>
            <pc:docMk/>
            <pc:sldMk cId="932115494" sldId="2147482632"/>
            <ac:spMk id="8" creationId="{4238CBEB-9AC5-C102-E036-A19CC463BFA3}"/>
          </ac:spMkLst>
        </pc:spChg>
        <pc:spChg chg="add mod">
          <ac:chgData name="Thomas Stegen" userId="22c4adc426855124" providerId="LiveId" clId="{65E4CEE5-3193-488C-A90C-07A402AE75FC}" dt="2025-04-18T12:01:50.470" v="2230" actId="20577"/>
          <ac:spMkLst>
            <pc:docMk/>
            <pc:sldMk cId="932115494" sldId="2147482632"/>
            <ac:spMk id="9" creationId="{C1E39A07-DAC5-262D-D47D-935EDE811F6E}"/>
          </ac:spMkLst>
        </pc:spChg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3251787655" sldId="2147482632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508778519" sldId="2147482633"/>
        </pc:sldMkLst>
      </pc:sldChg>
      <pc:sldChg chg="addSp delSp modSp add mod modClrScheme chgLayout">
        <pc:chgData name="Thomas Stegen" userId="22c4adc426855124" providerId="LiveId" clId="{65E4CEE5-3193-488C-A90C-07A402AE75FC}" dt="2025-04-22T13:09:29.822" v="3612" actId="27803"/>
        <pc:sldMkLst>
          <pc:docMk/>
          <pc:sldMk cId="2208897430" sldId="2147482633"/>
        </pc:sldMkLst>
        <pc:spChg chg="mod ord">
          <ac:chgData name="Thomas Stegen" userId="22c4adc426855124" providerId="LiveId" clId="{65E4CEE5-3193-488C-A90C-07A402AE75FC}" dt="2025-04-18T11:10:23.404" v="1369" actId="700"/>
          <ac:spMkLst>
            <pc:docMk/>
            <pc:sldMk cId="2208897430" sldId="2147482633"/>
            <ac:spMk id="3" creationId="{D3D5C1A1-9AC4-E4CD-F65C-EC6D621619C9}"/>
          </ac:spMkLst>
        </pc:spChg>
        <pc:spChg chg="mod ord">
          <ac:chgData name="Thomas Stegen" userId="22c4adc426855124" providerId="LiveId" clId="{65E4CEE5-3193-488C-A90C-07A402AE75FC}" dt="2025-04-18T11:52:20.747" v="1873" actId="20577"/>
          <ac:spMkLst>
            <pc:docMk/>
            <pc:sldMk cId="2208897430" sldId="2147482633"/>
            <ac:spMk id="4" creationId="{F60812CC-D20F-F034-529A-3F3EECDE3448}"/>
          </ac:spMkLst>
        </pc:spChg>
        <pc:spChg chg="add mod ord">
          <ac:chgData name="Thomas Stegen" userId="22c4adc426855124" providerId="LiveId" clId="{65E4CEE5-3193-488C-A90C-07A402AE75FC}" dt="2025-04-18T11:55:14.164" v="1975" actId="1035"/>
          <ac:spMkLst>
            <pc:docMk/>
            <pc:sldMk cId="2208897430" sldId="2147482633"/>
            <ac:spMk id="5" creationId="{37718108-94E0-D630-86EC-A3582AC25188}"/>
          </ac:spMkLst>
        </pc:spChg>
        <pc:spChg chg="add mod ord">
          <ac:chgData name="Thomas Stegen" userId="22c4adc426855124" providerId="LiveId" clId="{65E4CEE5-3193-488C-A90C-07A402AE75FC}" dt="2025-04-18T11:55:14.164" v="1975" actId="1035"/>
          <ac:spMkLst>
            <pc:docMk/>
            <pc:sldMk cId="2208897430" sldId="2147482633"/>
            <ac:spMk id="6" creationId="{335ABB46-A286-D628-08D5-649CC8EE653E}"/>
          </ac:spMkLst>
        </pc:spChg>
        <pc:spChg chg="add mod ord">
          <ac:chgData name="Thomas Stegen" userId="22c4adc426855124" providerId="LiveId" clId="{65E4CEE5-3193-488C-A90C-07A402AE75FC}" dt="2025-04-18T11:55:14.164" v="1975" actId="1035"/>
          <ac:spMkLst>
            <pc:docMk/>
            <pc:sldMk cId="2208897430" sldId="2147482633"/>
            <ac:spMk id="7" creationId="{63B4EA95-56C0-17A5-B81E-4AB6CF3BA671}"/>
          </ac:spMkLst>
        </pc:spChg>
        <pc:spChg chg="add mod ord">
          <ac:chgData name="Thomas Stegen" userId="22c4adc426855124" providerId="LiveId" clId="{65E4CEE5-3193-488C-A90C-07A402AE75FC}" dt="2025-04-18T11:55:14.164" v="1975" actId="1035"/>
          <ac:spMkLst>
            <pc:docMk/>
            <pc:sldMk cId="2208897430" sldId="2147482633"/>
            <ac:spMk id="8" creationId="{51A530B0-51DC-BE98-E766-89FDDA77B161}"/>
          </ac:spMkLst>
        </pc:spChg>
        <pc:spChg chg="add mod ord">
          <ac:chgData name="Thomas Stegen" userId="22c4adc426855124" providerId="LiveId" clId="{65E4CEE5-3193-488C-A90C-07A402AE75FC}" dt="2025-04-18T11:55:14.164" v="1975" actId="1035"/>
          <ac:spMkLst>
            <pc:docMk/>
            <pc:sldMk cId="2208897430" sldId="2147482633"/>
            <ac:spMk id="9" creationId="{A8DCB9C3-3B07-A4D1-0084-15CC94C52294}"/>
          </ac:spMkLst>
        </pc:spChg>
        <pc:spChg chg="add mod ord">
          <ac:chgData name="Thomas Stegen" userId="22c4adc426855124" providerId="LiveId" clId="{65E4CEE5-3193-488C-A90C-07A402AE75FC}" dt="2025-04-18T11:55:14.164" v="1975" actId="1035"/>
          <ac:spMkLst>
            <pc:docMk/>
            <pc:sldMk cId="2208897430" sldId="2147482633"/>
            <ac:spMk id="10" creationId="{E377D920-5D51-4900-DEDC-98EA8F16A920}"/>
          </ac:spMkLst>
        </pc:spChg>
        <pc:spChg chg="add mod">
          <ac:chgData name="Thomas Stegen" userId="22c4adc426855124" providerId="LiveId" clId="{65E4CEE5-3193-488C-A90C-07A402AE75FC}" dt="2025-04-18T11:54:59.404" v="1957"/>
          <ac:spMkLst>
            <pc:docMk/>
            <pc:sldMk cId="2208897430" sldId="2147482633"/>
            <ac:spMk id="21" creationId="{D8DD69C9-9BB7-9696-B7FD-B0591E2FC495}"/>
          </ac:spMkLst>
        </pc:spChg>
        <pc:spChg chg="mod topLvl">
          <ac:chgData name="Thomas Stegen" userId="22c4adc426855124" providerId="LiveId" clId="{65E4CEE5-3193-488C-A90C-07A402AE75FC}" dt="2025-04-18T11:54:59.404" v="1957"/>
          <ac:spMkLst>
            <pc:docMk/>
            <pc:sldMk cId="2208897430" sldId="2147482633"/>
            <ac:spMk id="24" creationId="{B208D1CC-F5B7-6322-AE9A-2818A0C0B1F9}"/>
          </ac:spMkLst>
        </pc:spChg>
        <pc:spChg chg="mod topLvl">
          <ac:chgData name="Thomas Stegen" userId="22c4adc426855124" providerId="LiveId" clId="{65E4CEE5-3193-488C-A90C-07A402AE75FC}" dt="2025-04-18T11:54:59.404" v="1957"/>
          <ac:spMkLst>
            <pc:docMk/>
            <pc:sldMk cId="2208897430" sldId="2147482633"/>
            <ac:spMk id="25" creationId="{8D6A0BD7-8378-5CB3-724E-4026AA643ACF}"/>
          </ac:spMkLst>
        </pc:spChg>
        <pc:spChg chg="add mod">
          <ac:chgData name="Thomas Stegen" userId="22c4adc426855124" providerId="LiveId" clId="{65E4CEE5-3193-488C-A90C-07A402AE75FC}" dt="2025-04-18T11:54:59.404" v="1957"/>
          <ac:spMkLst>
            <pc:docMk/>
            <pc:sldMk cId="2208897430" sldId="2147482633"/>
            <ac:spMk id="26" creationId="{95D04470-6371-161F-88E3-B670BDDEEBC1}"/>
          </ac:spMkLst>
        </pc:spChg>
        <pc:spChg chg="mod">
          <ac:chgData name="Thomas Stegen" userId="22c4adc426855124" providerId="LiveId" clId="{65E4CEE5-3193-488C-A90C-07A402AE75FC}" dt="2025-04-22T13:09:29.822" v="3612" actId="27803"/>
          <ac:spMkLst>
            <pc:docMk/>
            <pc:sldMk cId="2208897430" sldId="2147482633"/>
            <ac:spMk id="29" creationId="{20EAAAB9-AD37-ABF6-1851-E31CEC8014BD}"/>
          </ac:spMkLst>
        </pc:spChg>
        <pc:spChg chg="mod">
          <ac:chgData name="Thomas Stegen" userId="22c4adc426855124" providerId="LiveId" clId="{65E4CEE5-3193-488C-A90C-07A402AE75FC}" dt="2025-04-22T13:09:29.822" v="3612" actId="27803"/>
          <ac:spMkLst>
            <pc:docMk/>
            <pc:sldMk cId="2208897430" sldId="2147482633"/>
            <ac:spMk id="31" creationId="{F3BE3D1C-C548-3476-42DD-B330645F3B2C}"/>
          </ac:spMkLst>
        </pc:spChg>
        <pc:spChg chg="mod">
          <ac:chgData name="Thomas Stegen" userId="22c4adc426855124" providerId="LiveId" clId="{65E4CEE5-3193-488C-A90C-07A402AE75FC}" dt="2025-04-22T13:09:29.822" v="3612" actId="27803"/>
          <ac:spMkLst>
            <pc:docMk/>
            <pc:sldMk cId="2208897430" sldId="2147482633"/>
            <ac:spMk id="32" creationId="{CBBFD5E0-D208-42A0-A270-DF94AE2A419F}"/>
          </ac:spMkLst>
        </pc:spChg>
        <pc:spChg chg="mod">
          <ac:chgData name="Thomas Stegen" userId="22c4adc426855124" providerId="LiveId" clId="{65E4CEE5-3193-488C-A90C-07A402AE75FC}" dt="2025-04-22T13:09:29.822" v="3612" actId="27803"/>
          <ac:spMkLst>
            <pc:docMk/>
            <pc:sldMk cId="2208897430" sldId="2147482633"/>
            <ac:spMk id="33" creationId="{027940AD-0387-E738-C063-F8BDFD6CEB64}"/>
          </ac:spMkLst>
        </pc:spChg>
        <pc:spChg chg="mod">
          <ac:chgData name="Thomas Stegen" userId="22c4adc426855124" providerId="LiveId" clId="{65E4CEE5-3193-488C-A90C-07A402AE75FC}" dt="2025-04-22T13:09:29.822" v="3612" actId="27803"/>
          <ac:spMkLst>
            <pc:docMk/>
            <pc:sldMk cId="2208897430" sldId="2147482633"/>
            <ac:spMk id="34" creationId="{D09C95E5-9924-0022-126A-07482C16A439}"/>
          </ac:spMkLst>
        </pc:spChg>
        <pc:spChg chg="mod">
          <ac:chgData name="Thomas Stegen" userId="22c4adc426855124" providerId="LiveId" clId="{65E4CEE5-3193-488C-A90C-07A402AE75FC}" dt="2025-04-22T13:09:29.822" v="3612" actId="27803"/>
          <ac:spMkLst>
            <pc:docMk/>
            <pc:sldMk cId="2208897430" sldId="2147482633"/>
            <ac:spMk id="35" creationId="{33702FF5-3FFC-6B78-7DAB-749AEE812BB4}"/>
          </ac:spMkLst>
        </pc:spChg>
        <pc:spChg chg="mod">
          <ac:chgData name="Thomas Stegen" userId="22c4adc426855124" providerId="LiveId" clId="{65E4CEE5-3193-488C-A90C-07A402AE75FC}" dt="2025-04-22T13:09:29.822" v="3612" actId="27803"/>
          <ac:spMkLst>
            <pc:docMk/>
            <pc:sldMk cId="2208897430" sldId="2147482633"/>
            <ac:spMk id="41" creationId="{F846ADDD-AFF9-3BC4-5B70-FCA155B4BBCC}"/>
          </ac:spMkLst>
        </pc:spChg>
        <pc:spChg chg="mod">
          <ac:chgData name="Thomas Stegen" userId="22c4adc426855124" providerId="LiveId" clId="{65E4CEE5-3193-488C-A90C-07A402AE75FC}" dt="2025-04-22T13:09:29.822" v="3612" actId="27803"/>
          <ac:spMkLst>
            <pc:docMk/>
            <pc:sldMk cId="2208897430" sldId="2147482633"/>
            <ac:spMk id="42" creationId="{185990CE-12B0-F51D-825A-18CF851DDB3E}"/>
          </ac:spMkLst>
        </pc:spChg>
        <pc:spChg chg="mod">
          <ac:chgData name="Thomas Stegen" userId="22c4adc426855124" providerId="LiveId" clId="{65E4CEE5-3193-488C-A90C-07A402AE75FC}" dt="2025-04-22T13:09:29.822" v="3612" actId="27803"/>
          <ac:spMkLst>
            <pc:docMk/>
            <pc:sldMk cId="2208897430" sldId="2147482633"/>
            <ac:spMk id="43" creationId="{7FC1F85B-93E9-009D-1951-174CE38ED2FD}"/>
          </ac:spMkLst>
        </pc:spChg>
        <pc:spChg chg="mod">
          <ac:chgData name="Thomas Stegen" userId="22c4adc426855124" providerId="LiveId" clId="{65E4CEE5-3193-488C-A90C-07A402AE75FC}" dt="2025-04-22T13:09:29.822" v="3612" actId="27803"/>
          <ac:spMkLst>
            <pc:docMk/>
            <pc:sldMk cId="2208897430" sldId="2147482633"/>
            <ac:spMk id="44" creationId="{2104D013-6427-92FF-FD79-F9D9D536C908}"/>
          </ac:spMkLst>
        </pc:spChg>
        <pc:grpChg chg="add mod">
          <ac:chgData name="Thomas Stegen" userId="22c4adc426855124" providerId="LiveId" clId="{65E4CEE5-3193-488C-A90C-07A402AE75FC}" dt="2025-04-18T11:55:27.140" v="1984" actId="1036"/>
          <ac:grpSpMkLst>
            <pc:docMk/>
            <pc:sldMk cId="2208897430" sldId="2147482633"/>
            <ac:grpSpMk id="27" creationId="{CE239607-E7E9-A01F-3037-A298BEBAEF93}"/>
          </ac:grpSpMkLst>
        </pc:grpChg>
        <pc:picChg chg="add mod">
          <ac:chgData name="Thomas Stegen" userId="22c4adc426855124" providerId="LiveId" clId="{65E4CEE5-3193-488C-A90C-07A402AE75FC}" dt="2025-04-18T11:55:14.164" v="1975" actId="1035"/>
          <ac:picMkLst>
            <pc:docMk/>
            <pc:sldMk cId="2208897430" sldId="2147482633"/>
            <ac:picMk id="14" creationId="{37C2BE49-7934-19AC-3535-82884BAF180E}"/>
          </ac:picMkLst>
        </pc:picChg>
        <pc:picChg chg="add mod">
          <ac:chgData name="Thomas Stegen" userId="22c4adc426855124" providerId="LiveId" clId="{65E4CEE5-3193-488C-A90C-07A402AE75FC}" dt="2025-04-18T11:55:14.164" v="1975" actId="1035"/>
          <ac:picMkLst>
            <pc:docMk/>
            <pc:sldMk cId="2208897430" sldId="2147482633"/>
            <ac:picMk id="18" creationId="{AE797231-9078-83EE-7C43-E55DE4DA95FE}"/>
          </ac:picMkLst>
        </pc:picChg>
      </pc:sldChg>
      <pc:sldChg chg="modSp add mod">
        <pc:chgData name="Thomas Stegen" userId="22c4adc426855124" providerId="LiveId" clId="{65E4CEE5-3193-488C-A90C-07A402AE75FC}" dt="2025-04-18T12:06:00.687" v="2586" actId="20577"/>
        <pc:sldMkLst>
          <pc:docMk/>
          <pc:sldMk cId="266483654" sldId="2147482634"/>
        </pc:sldMkLst>
        <pc:spChg chg="mod">
          <ac:chgData name="Thomas Stegen" userId="22c4adc426855124" providerId="LiveId" clId="{65E4CEE5-3193-488C-A90C-07A402AE75FC}" dt="2025-04-18T12:04:27.513" v="2361" actId="27636"/>
          <ac:spMkLst>
            <pc:docMk/>
            <pc:sldMk cId="266483654" sldId="2147482634"/>
            <ac:spMk id="4" creationId="{B5F0B686-A221-CFD8-F795-3F5B1B489926}"/>
          </ac:spMkLst>
        </pc:spChg>
        <pc:spChg chg="mod">
          <ac:chgData name="Thomas Stegen" userId="22c4adc426855124" providerId="LiveId" clId="{65E4CEE5-3193-488C-A90C-07A402AE75FC}" dt="2025-04-18T12:04:54.703" v="2418" actId="20577"/>
          <ac:spMkLst>
            <pc:docMk/>
            <pc:sldMk cId="266483654" sldId="2147482634"/>
            <ac:spMk id="5" creationId="{ED2ED71B-09B5-26A0-B9AD-2EC1B5CFE0D0}"/>
          </ac:spMkLst>
        </pc:spChg>
        <pc:spChg chg="mod">
          <ac:chgData name="Thomas Stegen" userId="22c4adc426855124" providerId="LiveId" clId="{65E4CEE5-3193-488C-A90C-07A402AE75FC}" dt="2025-04-18T12:05:02.685" v="2440" actId="20577"/>
          <ac:spMkLst>
            <pc:docMk/>
            <pc:sldMk cId="266483654" sldId="2147482634"/>
            <ac:spMk id="6" creationId="{AE39B618-D83C-E5D8-1F92-35D45E08CB3B}"/>
          </ac:spMkLst>
        </pc:spChg>
        <pc:spChg chg="mod">
          <ac:chgData name="Thomas Stegen" userId="22c4adc426855124" providerId="LiveId" clId="{65E4CEE5-3193-488C-A90C-07A402AE75FC}" dt="2025-04-18T12:05:50.847" v="2566" actId="20577"/>
          <ac:spMkLst>
            <pc:docMk/>
            <pc:sldMk cId="266483654" sldId="2147482634"/>
            <ac:spMk id="7" creationId="{DC7FA6AE-0554-F999-8859-FE35896276FA}"/>
          </ac:spMkLst>
        </pc:spChg>
        <pc:spChg chg="mod">
          <ac:chgData name="Thomas Stegen" userId="22c4adc426855124" providerId="LiveId" clId="{65E4CEE5-3193-488C-A90C-07A402AE75FC}" dt="2025-04-18T12:06:00.687" v="2586" actId="20577"/>
          <ac:spMkLst>
            <pc:docMk/>
            <pc:sldMk cId="266483654" sldId="2147482634"/>
            <ac:spMk id="8" creationId="{5CBFB191-8FA5-601F-DBBC-B16D7644C99D}"/>
          </ac:spMkLst>
        </pc:spChg>
        <pc:spChg chg="mod">
          <ac:chgData name="Thomas Stegen" userId="22c4adc426855124" providerId="LiveId" clId="{65E4CEE5-3193-488C-A90C-07A402AE75FC}" dt="2025-04-18T12:05:32.596" v="2529" actId="20577"/>
          <ac:spMkLst>
            <pc:docMk/>
            <pc:sldMk cId="266483654" sldId="2147482634"/>
            <ac:spMk id="9" creationId="{B55FE794-E16B-D612-F4FF-9B746BCCF2B9}"/>
          </ac:spMkLst>
        </pc:spChg>
      </pc:sldChg>
      <pc:sldChg chg="addSp modSp new mod">
        <pc:chgData name="Thomas Stegen" userId="22c4adc426855124" providerId="LiveId" clId="{65E4CEE5-3193-488C-A90C-07A402AE75FC}" dt="2025-04-22T13:09:10.730" v="3611" actId="20577"/>
        <pc:sldMkLst>
          <pc:docMk/>
          <pc:sldMk cId="818691620" sldId="2147482635"/>
        </pc:sldMkLst>
        <pc:spChg chg="mod">
          <ac:chgData name="Thomas Stegen" userId="22c4adc426855124" providerId="LiveId" clId="{65E4CEE5-3193-488C-A90C-07A402AE75FC}" dt="2025-04-22T13:09:10.730" v="3611" actId="20577"/>
          <ac:spMkLst>
            <pc:docMk/>
            <pc:sldMk cId="818691620" sldId="2147482635"/>
            <ac:spMk id="3" creationId="{24BC7542-59C7-39AD-12CA-F2CD079CB1C5}"/>
          </ac:spMkLst>
        </pc:spChg>
        <pc:spChg chg="mod">
          <ac:chgData name="Thomas Stegen" userId="22c4adc426855124" providerId="LiveId" clId="{65E4CEE5-3193-488C-A90C-07A402AE75FC}" dt="2025-04-18T12:08:03.402" v="2845" actId="20577"/>
          <ac:spMkLst>
            <pc:docMk/>
            <pc:sldMk cId="818691620" sldId="2147482635"/>
            <ac:spMk id="4" creationId="{FC509F54-477A-BF2A-FEA6-ADC57EA94052}"/>
          </ac:spMkLst>
        </pc:spChg>
        <pc:spChg chg="mod">
          <ac:chgData name="Thomas Stegen" userId="22c4adc426855124" providerId="LiveId" clId="{65E4CEE5-3193-488C-A90C-07A402AE75FC}" dt="2025-04-18T12:51:10.003" v="3319" actId="20577"/>
          <ac:spMkLst>
            <pc:docMk/>
            <pc:sldMk cId="818691620" sldId="2147482635"/>
            <ac:spMk id="5" creationId="{170B9EFD-8EAB-0C65-DBA0-3BF17E8E018B}"/>
          </ac:spMkLst>
        </pc:spChg>
        <pc:spChg chg="mod">
          <ac:chgData name="Thomas Stegen" userId="22c4adc426855124" providerId="LiveId" clId="{65E4CEE5-3193-488C-A90C-07A402AE75FC}" dt="2025-04-18T12:08:07.029" v="2856" actId="20577"/>
          <ac:spMkLst>
            <pc:docMk/>
            <pc:sldMk cId="818691620" sldId="2147482635"/>
            <ac:spMk id="6" creationId="{DF86EABB-93E1-48C8-74F1-A774393D03C4}"/>
          </ac:spMkLst>
        </pc:spChg>
        <pc:spChg chg="mod">
          <ac:chgData name="Thomas Stegen" userId="22c4adc426855124" providerId="LiveId" clId="{65E4CEE5-3193-488C-A90C-07A402AE75FC}" dt="2025-04-18T12:06:56.781" v="2705" actId="20577"/>
          <ac:spMkLst>
            <pc:docMk/>
            <pc:sldMk cId="818691620" sldId="2147482635"/>
            <ac:spMk id="7" creationId="{E2B73FE8-2768-0F59-3790-A9A143EF9B2D}"/>
          </ac:spMkLst>
        </pc:spChg>
        <pc:spChg chg="add mod">
          <ac:chgData name="Thomas Stegen" userId="22c4adc426855124" providerId="LiveId" clId="{65E4CEE5-3193-488C-A90C-07A402AE75FC}" dt="2025-04-18T12:52:57.918" v="3407" actId="14100"/>
          <ac:spMkLst>
            <pc:docMk/>
            <pc:sldMk cId="818691620" sldId="2147482635"/>
            <ac:spMk id="8" creationId="{CC7ABFD5-01D1-6544-4F9A-0B7BE8DC3A32}"/>
          </ac:spMkLst>
        </pc:spChg>
        <pc:spChg chg="add mod">
          <ac:chgData name="Thomas Stegen" userId="22c4adc426855124" providerId="LiveId" clId="{65E4CEE5-3193-488C-A90C-07A402AE75FC}" dt="2025-04-18T12:53:29.808" v="3410" actId="465"/>
          <ac:spMkLst>
            <pc:docMk/>
            <pc:sldMk cId="818691620" sldId="2147482635"/>
            <ac:spMk id="9" creationId="{E499B18E-9174-38A6-2804-9DC26046E77D}"/>
          </ac:spMkLst>
        </pc:spChg>
        <pc:spChg chg="add mod">
          <ac:chgData name="Thomas Stegen" userId="22c4adc426855124" providerId="LiveId" clId="{65E4CEE5-3193-488C-A90C-07A402AE75FC}" dt="2025-04-18T12:53:20.701" v="3409" actId="14100"/>
          <ac:spMkLst>
            <pc:docMk/>
            <pc:sldMk cId="818691620" sldId="2147482635"/>
            <ac:spMk id="10" creationId="{D480FDDB-FB17-A4D4-5C71-EAAAE452EDD3}"/>
          </ac:spMkLst>
        </pc:spChg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878786822" sldId="2147482635"/>
        </pc:sldMkLst>
      </pc:sldChg>
      <pc:sldChg chg="addSp delSp modSp new mod ord modShow">
        <pc:chgData name="Thomas Stegen" userId="22c4adc426855124" providerId="LiveId" clId="{65E4CEE5-3193-488C-A90C-07A402AE75FC}" dt="2025-04-18T13:17:17.308" v="3609" actId="729"/>
        <pc:sldMkLst>
          <pc:docMk/>
          <pc:sldMk cId="83263960" sldId="2147482636"/>
        </pc:sldMkLst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700502402" sldId="2147482636"/>
        </pc:sldMkLst>
      </pc:sldChg>
      <pc:sldChg chg="addSp modSp new mod ord modShow">
        <pc:chgData name="Thomas Stegen" userId="22c4adc426855124" providerId="LiveId" clId="{65E4CEE5-3193-488C-A90C-07A402AE75FC}" dt="2025-04-18T13:17:17.308" v="3609" actId="729"/>
        <pc:sldMkLst>
          <pc:docMk/>
          <pc:sldMk cId="2378557065" sldId="2147482637"/>
        </pc:sldMkLst>
        <pc:spChg chg="mod">
          <ac:chgData name="Thomas Stegen" userId="22c4adc426855124" providerId="LiveId" clId="{65E4CEE5-3193-488C-A90C-07A402AE75FC}" dt="2025-04-18T12:54:40.979" v="3470" actId="20577"/>
          <ac:spMkLst>
            <pc:docMk/>
            <pc:sldMk cId="2378557065" sldId="2147482637"/>
            <ac:spMk id="2" creationId="{665876D7-153D-569B-B0F4-D374F1E26DA4}"/>
          </ac:spMkLst>
        </pc:spChg>
        <pc:picChg chg="add mod">
          <ac:chgData name="Thomas Stegen" userId="22c4adc426855124" providerId="LiveId" clId="{65E4CEE5-3193-488C-A90C-07A402AE75FC}" dt="2025-04-18T12:58:53.434" v="3481" actId="1076"/>
          <ac:picMkLst>
            <pc:docMk/>
            <pc:sldMk cId="2378557065" sldId="2147482637"/>
            <ac:picMk id="4" creationId="{D97593F2-63FA-60B1-F6B9-A8616E08F967}"/>
          </ac:picMkLst>
        </pc:picChg>
      </pc:sldChg>
      <pc:sldChg chg="del">
        <pc:chgData name="Thomas Stegen" userId="22c4adc426855124" providerId="LiveId" clId="{65E4CEE5-3193-488C-A90C-07A402AE75FC}" dt="2025-04-18T08:01:43.442" v="3" actId="47"/>
        <pc:sldMkLst>
          <pc:docMk/>
          <pc:sldMk cId="3083052735" sldId="2147482637"/>
        </pc:sldMkLst>
      </pc:sldChg>
      <pc:sldChg chg="addSp delSp modSp add mod ord modClrScheme modShow chgLayout">
        <pc:chgData name="Thomas Stegen" userId="22c4adc426855124" providerId="LiveId" clId="{65E4CEE5-3193-488C-A90C-07A402AE75FC}" dt="2025-04-18T13:17:17.308" v="3609" actId="729"/>
        <pc:sldMkLst>
          <pc:docMk/>
          <pc:sldMk cId="521988978" sldId="2147482638"/>
        </pc:sldMkLst>
        <pc:spChg chg="mod ord">
          <ac:chgData name="Thomas Stegen" userId="22c4adc426855124" providerId="LiveId" clId="{65E4CEE5-3193-488C-A90C-07A402AE75FC}" dt="2025-04-18T13:13:49.803" v="3504" actId="700"/>
          <ac:spMkLst>
            <pc:docMk/>
            <pc:sldMk cId="521988978" sldId="2147482638"/>
            <ac:spMk id="2" creationId="{0F780F05-FF9A-2FB1-139D-E8B2533E0834}"/>
          </ac:spMkLst>
        </pc:spChg>
        <pc:spChg chg="mod ord">
          <ac:chgData name="Thomas Stegen" userId="22c4adc426855124" providerId="LiveId" clId="{65E4CEE5-3193-488C-A90C-07A402AE75FC}" dt="2025-04-18T13:13:49.803" v="3504" actId="700"/>
          <ac:spMkLst>
            <pc:docMk/>
            <pc:sldMk cId="521988978" sldId="2147482638"/>
            <ac:spMk id="3" creationId="{2BF72E17-C2BF-9375-E09B-B85735D25AD2}"/>
          </ac:spMkLst>
        </pc:spChg>
        <pc:spChg chg="add mod ord">
          <ac:chgData name="Thomas Stegen" userId="22c4adc426855124" providerId="LiveId" clId="{65E4CEE5-3193-488C-A90C-07A402AE75FC}" dt="2025-04-18T13:14:44.137" v="3608" actId="20577"/>
          <ac:spMkLst>
            <pc:docMk/>
            <pc:sldMk cId="521988978" sldId="2147482638"/>
            <ac:spMk id="8" creationId="{82FCE34F-0208-5C1B-EFD7-E0777900416C}"/>
          </ac:spMkLst>
        </pc:spChg>
        <pc:spChg chg="add mod ord">
          <ac:chgData name="Thomas Stegen" userId="22c4adc426855124" providerId="LiveId" clId="{65E4CEE5-3193-488C-A90C-07A402AE75FC}" dt="2025-04-18T13:13:49.803" v="3504" actId="700"/>
          <ac:spMkLst>
            <pc:docMk/>
            <pc:sldMk cId="521988978" sldId="2147482638"/>
            <ac:spMk id="9" creationId="{A3B31DF9-EBBC-4F66-0014-D204176823BE}"/>
          </ac:spMkLst>
        </pc:spChg>
        <pc:picChg chg="add mod">
          <ac:chgData name="Thomas Stegen" userId="22c4adc426855124" providerId="LiveId" clId="{65E4CEE5-3193-488C-A90C-07A402AE75FC}" dt="2025-04-18T13:13:55.975" v="3505" actId="1076"/>
          <ac:picMkLst>
            <pc:docMk/>
            <pc:sldMk cId="521988978" sldId="2147482638"/>
            <ac:picMk id="5" creationId="{D0DC96D6-064D-6070-3B15-6703D68EDA6E}"/>
          </ac:picMkLst>
        </pc:picChg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3575761496" sldId="2147482638"/>
        </pc:sldMkLst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2089063541" sldId="2147482640"/>
        </pc:sldMkLst>
      </pc:sldChg>
      <pc:sldMasterChg chg="delSldLayout modSldLayout">
        <pc:chgData name="Thomas Stegen" userId="22c4adc426855124" providerId="LiveId" clId="{65E4CEE5-3193-488C-A90C-07A402AE75FC}" dt="2025-04-18T08:21:18.771" v="735"/>
        <pc:sldMasterMkLst>
          <pc:docMk/>
          <pc:sldMasterMk cId="3788491472" sldId="2147483648"/>
        </pc:sldMasterMkLst>
        <pc:sldLayoutChg chg="del">
          <pc:chgData name="Thomas Stegen" userId="22c4adc426855124" providerId="LiveId" clId="{65E4CEE5-3193-488C-A90C-07A402AE75FC}" dt="2025-04-18T07:59:30.719" v="1" actId="47"/>
          <pc:sldLayoutMkLst>
            <pc:docMk/>
            <pc:sldMasterMk cId="3788491472" sldId="2147483648"/>
            <pc:sldLayoutMk cId="615636461" sldId="2147483671"/>
          </pc:sldLayoutMkLst>
        </pc:sldLayoutChg>
        <pc:sldLayoutChg chg="modTransition">
          <pc:chgData name="Thomas Stegen" userId="22c4adc426855124" providerId="LiveId" clId="{65E4CEE5-3193-488C-A90C-07A402AE75FC}" dt="2025-04-18T08:21:18.771" v="735"/>
          <pc:sldLayoutMkLst>
            <pc:docMk/>
            <pc:sldMasterMk cId="3788491472" sldId="2147483648"/>
            <pc:sldLayoutMk cId="816682071" sldId="2147483671"/>
          </pc:sldLayoutMkLst>
        </pc:sldLayoutChg>
      </pc:sldMasterChg>
    </pc:docChg>
  </pc:docChgLst>
  <pc:docChgLst>
    <pc:chgData name="Thomas Stegen" userId="22c4adc426855124" providerId="LiveId" clId="{58040AA9-9858-4215-B7F7-7D09002E92E3}"/>
    <pc:docChg chg="undo custSel modSld">
      <pc:chgData name="Thomas Stegen" userId="22c4adc426855124" providerId="LiveId" clId="{58040AA9-9858-4215-B7F7-7D09002E92E3}" dt="2024-11-12T15:00:38.320" v="14" actId="790"/>
      <pc:docMkLst>
        <pc:docMk/>
      </pc:docMkLst>
      <pc:sldChg chg="addSp delSp modSp mod">
        <pc:chgData name="Thomas Stegen" userId="22c4adc426855124" providerId="LiveId" clId="{58040AA9-9858-4215-B7F7-7D09002E92E3}" dt="2024-10-31T16:36:53.300" v="2"/>
        <pc:sldMkLst>
          <pc:docMk/>
          <pc:sldMk cId="2411508895" sldId="867"/>
        </pc:sldMkLst>
      </pc:sldChg>
      <pc:sldChg chg="modSp mod">
        <pc:chgData name="Thomas Stegen" userId="22c4adc426855124" providerId="LiveId" clId="{58040AA9-9858-4215-B7F7-7D09002E92E3}" dt="2024-11-12T15:00:38.320" v="14" actId="790"/>
        <pc:sldMkLst>
          <pc:docMk/>
          <pc:sldMk cId="1379417009" sldId="871"/>
        </pc:sldMkLst>
      </pc:sldChg>
    </pc:docChg>
  </pc:docChgLst>
  <pc:docChgLst>
    <pc:chgData name="Thomas Stegen" userId="22c4adc426855124" providerId="LiveId" clId="{42F02233-691B-4425-AADB-49BBAAA084B2}"/>
    <pc:docChg chg="undo redo custSel addSld delSld modSld sldOrd modMainMaster">
      <pc:chgData name="Thomas Stegen" userId="22c4adc426855124" providerId="LiveId" clId="{42F02233-691B-4425-AADB-49BBAAA084B2}" dt="2025-02-05T10:09:56.262" v="3348" actId="478"/>
      <pc:docMkLst>
        <pc:docMk/>
      </pc:docMkLst>
      <pc:sldChg chg="modSp mod modTransition">
        <pc:chgData name="Thomas Stegen" userId="22c4adc426855124" providerId="LiveId" clId="{42F02233-691B-4425-AADB-49BBAAA084B2}" dt="2025-02-03T23:22:49.007" v="1748" actId="20577"/>
        <pc:sldMkLst>
          <pc:docMk/>
          <pc:sldMk cId="299449681" sldId="256"/>
        </pc:sldMkLst>
      </pc:sldChg>
      <pc:sldChg chg="add del">
        <pc:chgData name="Thomas Stegen" userId="22c4adc426855124" providerId="LiveId" clId="{42F02233-691B-4425-AADB-49BBAAA084B2}" dt="2025-02-03T23:23:47.991" v="1751" actId="47"/>
        <pc:sldMkLst>
          <pc:docMk/>
          <pc:sldMk cId="3969812076" sldId="262"/>
        </pc:sldMkLst>
      </pc:sldChg>
      <pc:sldChg chg="addSp delSp modSp add mod modTransition">
        <pc:chgData name="Thomas Stegen" userId="22c4adc426855124" providerId="LiveId" clId="{42F02233-691B-4425-AADB-49BBAAA084B2}" dt="2025-02-03T18:26:05.698" v="575" actId="478"/>
        <pc:sldMkLst>
          <pc:docMk/>
          <pc:sldMk cId="402823984" sldId="264"/>
        </pc:sldMkLst>
      </pc:sldChg>
      <pc:sldChg chg="add del setBg">
        <pc:chgData name="Thomas Stegen" userId="22c4adc426855124" providerId="LiveId" clId="{42F02233-691B-4425-AADB-49BBAAA084B2}" dt="2025-02-03T23:23:47.991" v="1751" actId="47"/>
        <pc:sldMkLst>
          <pc:docMk/>
          <pc:sldMk cId="1430450171" sldId="269"/>
        </pc:sldMkLst>
      </pc:sldChg>
      <pc:sldChg chg="addSp delSp modSp add mod modTransition">
        <pc:chgData name="Thomas Stegen" userId="22c4adc426855124" providerId="LiveId" clId="{42F02233-691B-4425-AADB-49BBAAA084B2}" dt="2025-02-03T18:28:31.916" v="895"/>
        <pc:sldMkLst>
          <pc:docMk/>
          <pc:sldMk cId="622829955" sldId="270"/>
        </pc:sldMkLst>
      </pc:sldChg>
      <pc:sldChg chg="addSp delSp modSp add mod modTransition">
        <pc:chgData name="Thomas Stegen" userId="22c4adc426855124" providerId="LiveId" clId="{42F02233-691B-4425-AADB-49BBAAA084B2}" dt="2025-02-03T23:22:11.824" v="1723" actId="208"/>
        <pc:sldMkLst>
          <pc:docMk/>
          <pc:sldMk cId="633783885" sldId="275"/>
        </pc:sldMkLst>
      </pc:sldChg>
      <pc:sldChg chg="add del">
        <pc:chgData name="Thomas Stegen" userId="22c4adc426855124" providerId="LiveId" clId="{42F02233-691B-4425-AADB-49BBAAA084B2}" dt="2025-02-03T23:23:47.991" v="1751" actId="47"/>
        <pc:sldMkLst>
          <pc:docMk/>
          <pc:sldMk cId="3063572970" sldId="326"/>
        </pc:sldMkLst>
      </pc:sldChg>
      <pc:sldChg chg="add del">
        <pc:chgData name="Thomas Stegen" userId="22c4adc426855124" providerId="LiveId" clId="{42F02233-691B-4425-AADB-49BBAAA084B2}" dt="2025-02-03T23:23:47.991" v="1751" actId="47"/>
        <pc:sldMkLst>
          <pc:docMk/>
          <pc:sldMk cId="2921476454" sldId="327"/>
        </pc:sldMkLst>
      </pc:sldChg>
      <pc:sldChg chg="addSp delSp modSp add mod modTransition">
        <pc:chgData name="Thomas Stegen" userId="22c4adc426855124" providerId="LiveId" clId="{42F02233-691B-4425-AADB-49BBAAA084B2}" dt="2025-02-04T09:36:48.448" v="3217"/>
        <pc:sldMkLst>
          <pc:docMk/>
          <pc:sldMk cId="790761882" sldId="879"/>
        </pc:sldMkLst>
      </pc:sldChg>
      <pc:sldChg chg="addSp delSp modSp add mod modTransition modClrScheme chgLayout">
        <pc:chgData name="Thomas Stegen" userId="22c4adc426855124" providerId="LiveId" clId="{42F02233-691B-4425-AADB-49BBAAA084B2}" dt="2025-02-04T09:40:59.389" v="3257" actId="20577"/>
        <pc:sldMkLst>
          <pc:docMk/>
          <pc:sldMk cId="3670356188" sldId="885"/>
        </pc:sldMkLst>
      </pc:sldChg>
      <pc:sldChg chg="addSp delSp modSp add mod modTransition modShow">
        <pc:chgData name="Thomas Stegen" userId="22c4adc426855124" providerId="LiveId" clId="{42F02233-691B-4425-AADB-49BBAAA084B2}" dt="2025-02-04T09:36:48.448" v="3217"/>
        <pc:sldMkLst>
          <pc:docMk/>
          <pc:sldMk cId="2922005027" sldId="890"/>
        </pc:sldMkLst>
      </pc:sldChg>
      <pc:sldChg chg="addSp delSp modSp add mod modTransition">
        <pc:chgData name="Thomas Stegen" userId="22c4adc426855124" providerId="LiveId" clId="{42F02233-691B-4425-AADB-49BBAAA084B2}" dt="2025-02-04T09:36:48.448" v="3217"/>
        <pc:sldMkLst>
          <pc:docMk/>
          <pc:sldMk cId="1161760403" sldId="891"/>
        </pc:sldMkLst>
      </pc:sldChg>
      <pc:sldChg chg="addSp delSp modSp add mod modTransition">
        <pc:chgData name="Thomas Stegen" userId="22c4adc426855124" providerId="LiveId" clId="{42F02233-691B-4425-AADB-49BBAAA084B2}" dt="2025-02-04T09:36:48.448" v="3217"/>
        <pc:sldMkLst>
          <pc:docMk/>
          <pc:sldMk cId="48254404" sldId="894"/>
        </pc:sldMkLst>
      </pc:sldChg>
      <pc:sldChg chg="addSp delSp modSp add mod modTransition">
        <pc:chgData name="Thomas Stegen" userId="22c4adc426855124" providerId="LiveId" clId="{42F02233-691B-4425-AADB-49BBAAA084B2}" dt="2025-02-04T09:36:48.448" v="3217"/>
        <pc:sldMkLst>
          <pc:docMk/>
          <pc:sldMk cId="4249744296" sldId="895"/>
        </pc:sldMkLst>
      </pc:sldChg>
      <pc:sldChg chg="delSp modSp add mod modTransition">
        <pc:chgData name="Thomas Stegen" userId="22c4adc426855124" providerId="LiveId" clId="{42F02233-691B-4425-AADB-49BBAAA084B2}" dt="2025-02-03T22:50:06.757" v="1511" actId="207"/>
        <pc:sldMkLst>
          <pc:docMk/>
          <pc:sldMk cId="3838290289" sldId="897"/>
        </pc:sldMkLst>
      </pc:sldChg>
      <pc:sldChg chg="delSp add mod modTransition modNotesTx">
        <pc:chgData name="Thomas Stegen" userId="22c4adc426855124" providerId="LiveId" clId="{42F02233-691B-4425-AADB-49BBAAA084B2}" dt="2025-02-03T22:44:16.271" v="1440"/>
        <pc:sldMkLst>
          <pc:docMk/>
          <pc:sldMk cId="878153879" sldId="903"/>
        </pc:sldMkLst>
      </pc:sldChg>
      <pc:sldChg chg="modSp mod modTransition">
        <pc:chgData name="Thomas Stegen" userId="22c4adc426855124" providerId="LiveId" clId="{42F02233-691B-4425-AADB-49BBAAA084B2}" dt="2025-02-04T07:57:57.369" v="1953" actId="20577"/>
        <pc:sldMkLst>
          <pc:docMk/>
          <pc:sldMk cId="1764171886" sldId="913"/>
        </pc:sldMkLst>
      </pc:sldChg>
      <pc:sldChg chg="addSp delSp modSp add mod modTransition delAnim modAnim modNotesTx">
        <pc:chgData name="Thomas Stegen" userId="22c4adc426855124" providerId="LiveId" clId="{42F02233-691B-4425-AADB-49BBAAA084B2}" dt="2025-02-05T10:09:56.262" v="3348" actId="478"/>
        <pc:sldMkLst>
          <pc:docMk/>
          <pc:sldMk cId="3656798939" sldId="937"/>
        </pc:sldMkLst>
      </pc:sldChg>
      <pc:sldChg chg="add del modTransition">
        <pc:chgData name="Thomas Stegen" userId="22c4adc426855124" providerId="LiveId" clId="{42F02233-691B-4425-AADB-49BBAAA084B2}" dt="2025-02-03T22:37:44.489" v="1265" actId="47"/>
        <pc:sldMkLst>
          <pc:docMk/>
          <pc:sldMk cId="730105130" sldId="942"/>
        </pc:sldMkLst>
      </pc:sldChg>
      <pc:sldChg chg="addSp delSp modSp mod modTransition">
        <pc:chgData name="Thomas Stegen" userId="22c4adc426855124" providerId="LiveId" clId="{42F02233-691B-4425-AADB-49BBAAA084B2}" dt="2025-02-03T14:17:08.978" v="541" actId="20577"/>
        <pc:sldMkLst>
          <pc:docMk/>
          <pc:sldMk cId="299236410" sldId="943"/>
        </pc:sldMkLst>
      </pc:sldChg>
      <pc:sldChg chg="delSp del mod ord modTransition">
        <pc:chgData name="Thomas Stegen" userId="22c4adc426855124" providerId="LiveId" clId="{42F02233-691B-4425-AADB-49BBAAA084B2}" dt="2025-02-04T08:47:40.991" v="2646" actId="47"/>
        <pc:sldMkLst>
          <pc:docMk/>
          <pc:sldMk cId="4006327399" sldId="944"/>
        </pc:sldMkLst>
      </pc:sldChg>
      <pc:sldChg chg="addSp modSp mod modTransition">
        <pc:chgData name="Thomas Stegen" userId="22c4adc426855124" providerId="LiveId" clId="{42F02233-691B-4425-AADB-49BBAAA084B2}" dt="2025-02-04T08:46:57.151" v="2637"/>
        <pc:sldMkLst>
          <pc:docMk/>
          <pc:sldMk cId="1679974604" sldId="945"/>
        </pc:sldMkLst>
      </pc:sldChg>
      <pc:sldChg chg="addSp delSp modSp mod modTransition">
        <pc:chgData name="Thomas Stegen" userId="22c4adc426855124" providerId="LiveId" clId="{42F02233-691B-4425-AADB-49BBAAA084B2}" dt="2025-02-04T07:51:59.122" v="1906" actId="6549"/>
        <pc:sldMkLst>
          <pc:docMk/>
          <pc:sldMk cId="2450386317" sldId="946"/>
        </pc:sldMkLst>
      </pc:sldChg>
      <pc:sldChg chg="add del modTransition">
        <pc:chgData name="Thomas Stegen" userId="22c4adc426855124" providerId="LiveId" clId="{42F02233-691B-4425-AADB-49BBAAA084B2}" dt="2025-02-03T22:23:37.097" v="909" actId="47"/>
        <pc:sldMkLst>
          <pc:docMk/>
          <pc:sldMk cId="2930338456" sldId="947"/>
        </pc:sldMkLst>
      </pc:sldChg>
      <pc:sldChg chg="add del modTransition">
        <pc:chgData name="Thomas Stegen" userId="22c4adc426855124" providerId="LiveId" clId="{42F02233-691B-4425-AADB-49BBAAA084B2}" dt="2025-02-03T22:23:42.129" v="910" actId="47"/>
        <pc:sldMkLst>
          <pc:docMk/>
          <pc:sldMk cId="2303179982" sldId="950"/>
        </pc:sldMkLst>
      </pc:sldChg>
      <pc:sldChg chg="add del modTransition">
        <pc:chgData name="Thomas Stegen" userId="22c4adc426855124" providerId="LiveId" clId="{42F02233-691B-4425-AADB-49BBAAA084B2}" dt="2025-02-03T22:23:32.378" v="908" actId="47"/>
        <pc:sldMkLst>
          <pc:docMk/>
          <pc:sldMk cId="4074604967" sldId="951"/>
        </pc:sldMkLst>
      </pc:sldChg>
      <pc:sldChg chg="add del modTransition">
        <pc:chgData name="Thomas Stegen" userId="22c4adc426855124" providerId="LiveId" clId="{42F02233-691B-4425-AADB-49BBAAA084B2}" dt="2025-02-03T22:22:25.877" v="902" actId="47"/>
        <pc:sldMkLst>
          <pc:docMk/>
          <pc:sldMk cId="1477666325" sldId="957"/>
        </pc:sldMkLst>
      </pc:sldChg>
      <pc:sldChg chg="modTransition">
        <pc:chgData name="Thomas Stegen" userId="22c4adc426855124" providerId="LiveId" clId="{42F02233-691B-4425-AADB-49BBAAA084B2}" dt="2025-01-13T08:55:48.244" v="121"/>
        <pc:sldMkLst>
          <pc:docMk/>
          <pc:sldMk cId="302096959" sldId="964"/>
        </pc:sldMkLst>
      </pc:sldChg>
      <pc:sldChg chg="add del modTransition">
        <pc:chgData name="Thomas Stegen" userId="22c4adc426855124" providerId="LiveId" clId="{42F02233-691B-4425-AADB-49BBAAA084B2}" dt="2025-02-03T22:23:00.381" v="904" actId="47"/>
        <pc:sldMkLst>
          <pc:docMk/>
          <pc:sldMk cId="2236730606" sldId="966"/>
        </pc:sldMkLst>
      </pc:sldChg>
      <pc:sldChg chg="addSp delSp modSp add mod ord modTransition modAnim">
        <pc:chgData name="Thomas Stegen" userId="22c4adc426855124" providerId="LiveId" clId="{42F02233-691B-4425-AADB-49BBAAA084B2}" dt="2025-02-03T23:00:34.523" v="1679" actId="478"/>
        <pc:sldMkLst>
          <pc:docMk/>
          <pc:sldMk cId="235187270" sldId="967"/>
        </pc:sldMkLst>
      </pc:sldChg>
      <pc:sldChg chg="modSp mod modTransition">
        <pc:chgData name="Thomas Stegen" userId="22c4adc426855124" providerId="LiveId" clId="{42F02233-691B-4425-AADB-49BBAAA084B2}" dt="2025-01-13T13:49:05.022" v="146" actId="20577"/>
        <pc:sldMkLst>
          <pc:docMk/>
          <pc:sldMk cId="2106362747" sldId="968"/>
        </pc:sldMkLst>
      </pc:sldChg>
      <pc:sldChg chg="modTransition">
        <pc:chgData name="Thomas Stegen" userId="22c4adc426855124" providerId="LiveId" clId="{42F02233-691B-4425-AADB-49BBAAA084B2}" dt="2025-02-04T09:43:20.640" v="3258"/>
        <pc:sldMkLst>
          <pc:docMk/>
          <pc:sldMk cId="3353913379" sldId="2147482601"/>
        </pc:sldMkLst>
      </pc:sldChg>
      <pc:sldChg chg="modSp mod modTransition">
        <pc:chgData name="Thomas Stegen" userId="22c4adc426855124" providerId="LiveId" clId="{42F02233-691B-4425-AADB-49BBAAA084B2}" dt="2025-02-04T09:10:45.767" v="3134"/>
        <pc:sldMkLst>
          <pc:docMk/>
          <pc:sldMk cId="610393291" sldId="2147482607"/>
        </pc:sldMkLst>
      </pc:sldChg>
      <pc:sldChg chg="del modTransition">
        <pc:chgData name="Thomas Stegen" userId="22c4adc426855124" providerId="LiveId" clId="{42F02233-691B-4425-AADB-49BBAAA084B2}" dt="2025-01-13T13:48:14.745" v="124" actId="47"/>
        <pc:sldMkLst>
          <pc:docMk/>
          <pc:sldMk cId="2313969768" sldId="2147482608"/>
        </pc:sldMkLst>
      </pc:sldChg>
      <pc:sldChg chg="del modTransition">
        <pc:chgData name="Thomas Stegen" userId="22c4adc426855124" providerId="LiveId" clId="{42F02233-691B-4425-AADB-49BBAAA084B2}" dt="2025-01-13T13:48:18.482" v="125" actId="47"/>
        <pc:sldMkLst>
          <pc:docMk/>
          <pc:sldMk cId="3242279343" sldId="2147482609"/>
        </pc:sldMkLst>
      </pc:sldChg>
      <pc:sldChg chg="del modTransition">
        <pc:chgData name="Thomas Stegen" userId="22c4adc426855124" providerId="LiveId" clId="{42F02233-691B-4425-AADB-49BBAAA084B2}" dt="2025-02-03T23:21:37.710" v="1722" actId="47"/>
        <pc:sldMkLst>
          <pc:docMk/>
          <pc:sldMk cId="1935874160" sldId="2147482610"/>
        </pc:sldMkLst>
      </pc:sldChg>
      <pc:sldChg chg="del modTransition">
        <pc:chgData name="Thomas Stegen" userId="22c4adc426855124" providerId="LiveId" clId="{42F02233-691B-4425-AADB-49BBAAA084B2}" dt="2025-01-13T13:48:27.956" v="126" actId="47"/>
        <pc:sldMkLst>
          <pc:docMk/>
          <pc:sldMk cId="3176342883" sldId="2147482620"/>
        </pc:sldMkLst>
      </pc:sldChg>
      <pc:sldChg chg="modSp del mod modTransition">
        <pc:chgData name="Thomas Stegen" userId="22c4adc426855124" providerId="LiveId" clId="{42F02233-691B-4425-AADB-49BBAAA084B2}" dt="2025-02-03T23:21:29.716" v="1720" actId="47"/>
        <pc:sldMkLst>
          <pc:docMk/>
          <pc:sldMk cId="3895625362" sldId="2147482621"/>
        </pc:sldMkLst>
      </pc:sldChg>
      <pc:sldChg chg="del modTransition">
        <pc:chgData name="Thomas Stegen" userId="22c4adc426855124" providerId="LiveId" clId="{42F02233-691B-4425-AADB-49BBAAA084B2}" dt="2025-02-03T23:21:05.235" v="1718" actId="47"/>
        <pc:sldMkLst>
          <pc:docMk/>
          <pc:sldMk cId="1327773914" sldId="2147482622"/>
        </pc:sldMkLst>
      </pc:sldChg>
      <pc:sldChg chg="del modTransition">
        <pc:chgData name="Thomas Stegen" userId="22c4adc426855124" providerId="LiveId" clId="{42F02233-691B-4425-AADB-49BBAAA084B2}" dt="2025-02-03T23:20:20.918" v="1712" actId="47"/>
        <pc:sldMkLst>
          <pc:docMk/>
          <pc:sldMk cId="134310606" sldId="2147482623"/>
        </pc:sldMkLst>
      </pc:sldChg>
      <pc:sldChg chg="modTransition">
        <pc:chgData name="Thomas Stegen" userId="22c4adc426855124" providerId="LiveId" clId="{42F02233-691B-4425-AADB-49BBAAA084B2}" dt="2025-01-13T08:55:48.244" v="121"/>
        <pc:sldMkLst>
          <pc:docMk/>
          <pc:sldMk cId="1023764705" sldId="2147482624"/>
        </pc:sldMkLst>
      </pc:sldChg>
      <pc:sldChg chg="addSp delSp modSp add mod modTransition">
        <pc:chgData name="Thomas Stegen" userId="22c4adc426855124" providerId="LiveId" clId="{42F02233-691B-4425-AADB-49BBAAA084B2}" dt="2025-02-03T23:03:15.009" v="1691" actId="6549"/>
        <pc:sldMkLst>
          <pc:docMk/>
          <pc:sldMk cId="857946924" sldId="2147482625"/>
        </pc:sldMkLst>
      </pc:sldChg>
      <pc:sldChg chg="add del">
        <pc:chgData name="Thomas Stegen" userId="22c4adc426855124" providerId="LiveId" clId="{42F02233-691B-4425-AADB-49BBAAA084B2}" dt="2025-02-04T07:58:27.282" v="1954" actId="47"/>
        <pc:sldMkLst>
          <pc:docMk/>
          <pc:sldMk cId="1136657830" sldId="2147482626"/>
        </pc:sldMkLst>
      </pc:sldChg>
      <pc:sldChg chg="addSp delSp modSp add mod">
        <pc:chgData name="Thomas Stegen" userId="22c4adc426855124" providerId="LiveId" clId="{42F02233-691B-4425-AADB-49BBAAA084B2}" dt="2025-02-03T14:15:58.457" v="456" actId="20577"/>
        <pc:sldMkLst>
          <pc:docMk/>
          <pc:sldMk cId="444886421" sldId="2147482627"/>
        </pc:sldMkLst>
      </pc:sldChg>
      <pc:sldChg chg="addSp delSp modSp new mod">
        <pc:chgData name="Thomas Stegen" userId="22c4adc426855124" providerId="LiveId" clId="{42F02233-691B-4425-AADB-49BBAAA084B2}" dt="2025-02-03T14:07:31.314" v="216" actId="478"/>
        <pc:sldMkLst>
          <pc:docMk/>
          <pc:sldMk cId="3988556253" sldId="2147482628"/>
        </pc:sldMkLst>
      </pc:sldChg>
      <pc:sldChg chg="new del">
        <pc:chgData name="Thomas Stegen" userId="22c4adc426855124" providerId="LiveId" clId="{42F02233-691B-4425-AADB-49BBAAA084B2}" dt="2025-02-03T14:11:22.805" v="220" actId="47"/>
        <pc:sldMkLst>
          <pc:docMk/>
          <pc:sldMk cId="1359775057" sldId="2147482629"/>
        </pc:sldMkLst>
      </pc:sldChg>
      <pc:sldChg chg="addSp delSp modSp add mod ord modTransition modAnim">
        <pc:chgData name="Thomas Stegen" userId="22c4adc426855124" providerId="LiveId" clId="{42F02233-691B-4425-AADB-49BBAAA084B2}" dt="2025-02-03T22:32:25.645" v="1129" actId="1036"/>
        <pc:sldMkLst>
          <pc:docMk/>
          <pc:sldMk cId="798998216" sldId="2147482630"/>
        </pc:sldMkLst>
      </pc:sldChg>
      <pc:sldChg chg="add del modTransition">
        <pc:chgData name="Thomas Stegen" userId="22c4adc426855124" providerId="LiveId" clId="{42F02233-691B-4425-AADB-49BBAAA084B2}" dt="2025-02-03T14:11:19.796" v="219" actId="47"/>
        <pc:sldMkLst>
          <pc:docMk/>
          <pc:sldMk cId="1272270845" sldId="2147482631"/>
        </pc:sldMkLst>
      </pc:sldChg>
      <pc:sldChg chg="modSp add mod modTransition">
        <pc:chgData name="Thomas Stegen" userId="22c4adc426855124" providerId="LiveId" clId="{42F02233-691B-4425-AADB-49BBAAA084B2}" dt="2025-02-03T22:45:32.531" v="1510" actId="20577"/>
        <pc:sldMkLst>
          <pc:docMk/>
          <pc:sldMk cId="3688886320" sldId="2147482631"/>
        </pc:sldMkLst>
      </pc:sldChg>
      <pc:sldChg chg="addSp delSp modSp add mod modTransition">
        <pc:chgData name="Thomas Stegen" userId="22c4adc426855124" providerId="LiveId" clId="{42F02233-691B-4425-AADB-49BBAAA084B2}" dt="2025-02-03T22:50:19.785" v="1515" actId="20577"/>
        <pc:sldMkLst>
          <pc:docMk/>
          <pc:sldMk cId="3251787655" sldId="2147482632"/>
        </pc:sldMkLst>
      </pc:sldChg>
      <pc:sldChg chg="modSp add mod modTransition">
        <pc:chgData name="Thomas Stegen" userId="22c4adc426855124" providerId="LiveId" clId="{42F02233-691B-4425-AADB-49BBAAA084B2}" dt="2025-02-03T22:44:16.271" v="1440"/>
        <pc:sldMkLst>
          <pc:docMk/>
          <pc:sldMk cId="508778519" sldId="2147482633"/>
        </pc:sldMkLst>
      </pc:sldChg>
      <pc:sldChg chg="add del">
        <pc:chgData name="Thomas Stegen" userId="22c4adc426855124" providerId="LiveId" clId="{42F02233-691B-4425-AADB-49BBAAA084B2}" dt="2025-02-03T23:20:07.404" v="1709" actId="47"/>
        <pc:sldMkLst>
          <pc:docMk/>
          <pc:sldMk cId="1475240105" sldId="2147482634"/>
        </pc:sldMkLst>
      </pc:sldChg>
      <pc:sldChg chg="modSp add del mod">
        <pc:chgData name="Thomas Stegen" userId="22c4adc426855124" providerId="LiveId" clId="{42F02233-691B-4425-AADB-49BBAAA084B2}" dt="2025-02-03T23:20:41.212" v="1716"/>
        <pc:sldMkLst>
          <pc:docMk/>
          <pc:sldMk cId="878786822" sldId="2147482635"/>
        </pc:sldMkLst>
      </pc:sldChg>
      <pc:sldChg chg="add">
        <pc:chgData name="Thomas Stegen" userId="22c4adc426855124" providerId="LiveId" clId="{42F02233-691B-4425-AADB-49BBAAA084B2}" dt="2025-02-03T23:21:03.137" v="1717"/>
        <pc:sldMkLst>
          <pc:docMk/>
          <pc:sldMk cId="700502402" sldId="2147482636"/>
        </pc:sldMkLst>
      </pc:sldChg>
      <pc:sldChg chg="add">
        <pc:chgData name="Thomas Stegen" userId="22c4adc426855124" providerId="LiveId" clId="{42F02233-691B-4425-AADB-49BBAAA084B2}" dt="2025-02-03T23:21:27.072" v="1719"/>
        <pc:sldMkLst>
          <pc:docMk/>
          <pc:sldMk cId="3083052735" sldId="2147482637"/>
        </pc:sldMkLst>
      </pc:sldChg>
      <pc:sldChg chg="add modTransition">
        <pc:chgData name="Thomas Stegen" userId="22c4adc426855124" providerId="LiveId" clId="{42F02233-691B-4425-AADB-49BBAAA084B2}" dt="2025-02-04T09:36:54.847" v="3218"/>
        <pc:sldMkLst>
          <pc:docMk/>
          <pc:sldMk cId="3575761496" sldId="2147482638"/>
        </pc:sldMkLst>
      </pc:sldChg>
      <pc:sldChg chg="add del">
        <pc:chgData name="Thomas Stegen" userId="22c4adc426855124" providerId="LiveId" clId="{42F02233-691B-4425-AADB-49BBAAA084B2}" dt="2025-02-03T23:23:15.611" v="1750" actId="47"/>
        <pc:sldMkLst>
          <pc:docMk/>
          <pc:sldMk cId="3571963036" sldId="2147482639"/>
        </pc:sldMkLst>
      </pc:sldChg>
      <pc:sldChg chg="addSp delSp modSp add mod">
        <pc:chgData name="Thomas Stegen" userId="22c4adc426855124" providerId="LiveId" clId="{42F02233-691B-4425-AADB-49BBAAA084B2}" dt="2025-02-04T08:47:56.851" v="2672" actId="20577"/>
        <pc:sldMkLst>
          <pc:docMk/>
          <pc:sldMk cId="2089063541" sldId="2147482640"/>
        </pc:sldMkLst>
      </pc:sldChg>
      <pc:sldChg chg="modSp new del mod">
        <pc:chgData name="Thomas Stegen" userId="22c4adc426855124" providerId="LiveId" clId="{42F02233-691B-4425-AADB-49BBAAA084B2}" dt="2025-02-04T13:10:16.957" v="3259" actId="47"/>
        <pc:sldMkLst>
          <pc:docMk/>
          <pc:sldMk cId="1576011799" sldId="2147482641"/>
        </pc:sldMkLst>
      </pc:sldChg>
      <pc:sldMasterChg chg="modTransition modSldLayout">
        <pc:chgData name="Thomas Stegen" userId="22c4adc426855124" providerId="LiveId" clId="{42F02233-691B-4425-AADB-49BBAAA084B2}" dt="2025-02-03T22:28:33.344" v="1038" actId="478"/>
        <pc:sldMasterMkLst>
          <pc:docMk/>
          <pc:sldMasterMk cId="3788491472" sldId="2147483648"/>
        </pc:sldMasterMkLst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2830576796" sldId="2147483649"/>
          </pc:sldLayoutMkLst>
        </pc:sldLayoutChg>
        <pc:sldLayoutChg chg="modSp mod modTransition">
          <pc:chgData name="Thomas Stegen" userId="22c4adc426855124" providerId="LiveId" clId="{42F02233-691B-4425-AADB-49BBAAA084B2}" dt="2025-02-03T14:17:23.506" v="542" actId="14100"/>
          <pc:sldLayoutMkLst>
            <pc:docMk/>
            <pc:sldMasterMk cId="3788491472" sldId="2147483648"/>
            <pc:sldLayoutMk cId="2936883607" sldId="2147483650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372238185" sldId="2147483651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1085995990" sldId="2147483652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1788861054" sldId="2147483653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248164916" sldId="2147483654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4197255268" sldId="2147483655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2251114938" sldId="2147483656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1832709642" sldId="2147483657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77758257" sldId="2147483658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4284322808" sldId="2147483659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2044504771" sldId="2147483660"/>
          </pc:sldLayoutMkLst>
        </pc:sldLayoutChg>
        <pc:sldLayoutChg chg="delSp mod modTransition">
          <pc:chgData name="Thomas Stegen" userId="22c4adc426855124" providerId="LiveId" clId="{42F02233-691B-4425-AADB-49BBAAA084B2}" dt="2025-02-03T22:28:33.344" v="1038" actId="478"/>
          <pc:sldLayoutMkLst>
            <pc:docMk/>
            <pc:sldMasterMk cId="3788491472" sldId="2147483648"/>
            <pc:sldLayoutMk cId="561284586" sldId="2147483661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3879423323" sldId="2147483662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1539450209" sldId="2147483663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1687604561" sldId="2147483664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3144331820" sldId="2147483665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1766445646" sldId="2147483666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469720912" sldId="2147483667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1737572305" sldId="2147483669"/>
          </pc:sldLayoutMkLst>
        </pc:sldLayoutChg>
      </pc:sldMasterChg>
    </pc:docChg>
  </pc:docChgLst>
  <pc:docChgLst>
    <pc:chgData name="Thomas Stegen" userId="22c4adc426855124" providerId="LiveId" clId="{A15F97B9-14AB-4B3B-A844-0D79C1E5C7E5}"/>
    <pc:docChg chg="undo custSel addSld delSld modSld sldOrd addSection delSection modSection">
      <pc:chgData name="Thomas Stegen" userId="22c4adc426855124" providerId="LiveId" clId="{A15F97B9-14AB-4B3B-A844-0D79C1E5C7E5}" dt="2025-05-21T12:02:08.731" v="4610" actId="1076"/>
      <pc:docMkLst>
        <pc:docMk/>
      </pc:docMkLst>
      <pc:sldChg chg="addSp modSp mod">
        <pc:chgData name="Thomas Stegen" userId="22c4adc426855124" providerId="LiveId" clId="{A15F97B9-14AB-4B3B-A844-0D79C1E5C7E5}" dt="2025-05-21T08:06:07.431" v="26" actId="20577"/>
        <pc:sldMkLst>
          <pc:docMk/>
          <pc:sldMk cId="299449681" sldId="256"/>
        </pc:sldMkLst>
        <pc:spChg chg="mod">
          <ac:chgData name="Thomas Stegen" userId="22c4adc426855124" providerId="LiveId" clId="{A15F97B9-14AB-4B3B-A844-0D79C1E5C7E5}" dt="2025-05-21T08:05:55.889" v="17" actId="403"/>
          <ac:spMkLst>
            <pc:docMk/>
            <pc:sldMk cId="299449681" sldId="256"/>
            <ac:spMk id="2" creationId="{FF3E1829-38DF-E012-DBC2-15E60E907B72}"/>
          </ac:spMkLst>
        </pc:spChg>
        <pc:spChg chg="mod">
          <ac:chgData name="Thomas Stegen" userId="22c4adc426855124" providerId="LiveId" clId="{A15F97B9-14AB-4B3B-A844-0D79C1E5C7E5}" dt="2025-05-21T08:06:07.431" v="26" actId="20577"/>
          <ac:spMkLst>
            <pc:docMk/>
            <pc:sldMk cId="299449681" sldId="256"/>
            <ac:spMk id="5" creationId="{9E507849-6F8C-8FC3-4286-DCBA89A4B7BC}"/>
          </ac:spMkLst>
        </pc:spChg>
        <pc:spChg chg="add">
          <ac:chgData name="Thomas Stegen" userId="22c4adc426855124" providerId="LiveId" clId="{A15F97B9-14AB-4B3B-A844-0D79C1E5C7E5}" dt="2025-05-21T08:05:26.120" v="9"/>
          <ac:spMkLst>
            <pc:docMk/>
            <pc:sldMk cId="299449681" sldId="256"/>
            <ac:spMk id="6" creationId="{6A027C47-23F8-8BA2-852B-3649CF60D318}"/>
          </ac:spMkLst>
        </pc:spChg>
        <pc:spChg chg="add">
          <ac:chgData name="Thomas Stegen" userId="22c4adc426855124" providerId="LiveId" clId="{A15F97B9-14AB-4B3B-A844-0D79C1E5C7E5}" dt="2025-05-21T08:05:27.903" v="10"/>
          <ac:spMkLst>
            <pc:docMk/>
            <pc:sldMk cId="299449681" sldId="256"/>
            <ac:spMk id="7" creationId="{93395430-CB34-6C4F-E592-CE1762990A71}"/>
          </ac:spMkLst>
        </pc:spChg>
        <pc:spChg chg="add">
          <ac:chgData name="Thomas Stegen" userId="22c4adc426855124" providerId="LiveId" clId="{A15F97B9-14AB-4B3B-A844-0D79C1E5C7E5}" dt="2025-05-21T08:05:29.750" v="11"/>
          <ac:spMkLst>
            <pc:docMk/>
            <pc:sldMk cId="299449681" sldId="256"/>
            <ac:spMk id="8" creationId="{2E5F3AE3-D267-EB35-C69A-8140FFFEBDD2}"/>
          </ac:spMkLst>
        </pc:spChg>
      </pc:sldChg>
      <pc:sldChg chg="mod modShow">
        <pc:chgData name="Thomas Stegen" userId="22c4adc426855124" providerId="LiveId" clId="{A15F97B9-14AB-4B3B-A844-0D79C1E5C7E5}" dt="2025-05-21T08:10:52.756" v="33" actId="729"/>
        <pc:sldMkLst>
          <pc:docMk/>
          <pc:sldMk cId="633783885" sldId="275"/>
        </pc:sldMkLst>
      </pc:sldChg>
      <pc:sldChg chg="mod modShow">
        <pc:chgData name="Thomas Stegen" userId="22c4adc426855124" providerId="LiveId" clId="{A15F97B9-14AB-4B3B-A844-0D79C1E5C7E5}" dt="2025-05-21T08:10:52.756" v="33" actId="729"/>
        <pc:sldMkLst>
          <pc:docMk/>
          <pc:sldMk cId="444886421" sldId="2147482627"/>
        </pc:sldMkLst>
      </pc:sldChg>
      <pc:sldChg chg="modSp mod ord">
        <pc:chgData name="Thomas Stegen" userId="22c4adc426855124" providerId="LiveId" clId="{A15F97B9-14AB-4B3B-A844-0D79C1E5C7E5}" dt="2025-05-21T08:12:04.060" v="81" actId="20577"/>
        <pc:sldMkLst>
          <pc:docMk/>
          <pc:sldMk cId="3988556253" sldId="2147482628"/>
        </pc:sldMkLst>
        <pc:spChg chg="mod">
          <ac:chgData name="Thomas Stegen" userId="22c4adc426855124" providerId="LiveId" clId="{A15F97B9-14AB-4B3B-A844-0D79C1E5C7E5}" dt="2025-05-21T08:12:04.060" v="81" actId="20577"/>
          <ac:spMkLst>
            <pc:docMk/>
            <pc:sldMk cId="3988556253" sldId="2147482628"/>
            <ac:spMk id="4" creationId="{5B864D99-1C65-2CCE-7346-8246E2AFE9D2}"/>
          </ac:spMkLst>
        </pc:spChg>
      </pc:sldChg>
      <pc:sldChg chg="mod modShow">
        <pc:chgData name="Thomas Stegen" userId="22c4adc426855124" providerId="LiveId" clId="{A15F97B9-14AB-4B3B-A844-0D79C1E5C7E5}" dt="2025-05-21T08:10:52.756" v="33" actId="729"/>
        <pc:sldMkLst>
          <pc:docMk/>
          <pc:sldMk cId="798998216" sldId="2147482630"/>
        </pc:sldMkLst>
      </pc:sldChg>
      <pc:sldChg chg="mod modShow">
        <pc:chgData name="Thomas Stegen" userId="22c4adc426855124" providerId="LiveId" clId="{A15F97B9-14AB-4B3B-A844-0D79C1E5C7E5}" dt="2025-05-21T08:10:52.756" v="33" actId="729"/>
        <pc:sldMkLst>
          <pc:docMk/>
          <pc:sldMk cId="2136837991" sldId="2147482631"/>
        </pc:sldMkLst>
      </pc:sldChg>
      <pc:sldChg chg="mod modShow">
        <pc:chgData name="Thomas Stegen" userId="22c4adc426855124" providerId="LiveId" clId="{A15F97B9-14AB-4B3B-A844-0D79C1E5C7E5}" dt="2025-05-21T08:10:52.756" v="33" actId="729"/>
        <pc:sldMkLst>
          <pc:docMk/>
          <pc:sldMk cId="932115494" sldId="2147482632"/>
        </pc:sldMkLst>
      </pc:sldChg>
      <pc:sldChg chg="mod modShow">
        <pc:chgData name="Thomas Stegen" userId="22c4adc426855124" providerId="LiveId" clId="{A15F97B9-14AB-4B3B-A844-0D79C1E5C7E5}" dt="2025-05-21T08:10:52.756" v="33" actId="729"/>
        <pc:sldMkLst>
          <pc:docMk/>
          <pc:sldMk cId="2208897430" sldId="2147482633"/>
        </pc:sldMkLst>
      </pc:sldChg>
      <pc:sldChg chg="mod modShow">
        <pc:chgData name="Thomas Stegen" userId="22c4adc426855124" providerId="LiveId" clId="{A15F97B9-14AB-4B3B-A844-0D79C1E5C7E5}" dt="2025-05-21T08:10:52.756" v="33" actId="729"/>
        <pc:sldMkLst>
          <pc:docMk/>
          <pc:sldMk cId="266483654" sldId="2147482634"/>
        </pc:sldMkLst>
      </pc:sldChg>
      <pc:sldChg chg="mod modShow">
        <pc:chgData name="Thomas Stegen" userId="22c4adc426855124" providerId="LiveId" clId="{A15F97B9-14AB-4B3B-A844-0D79C1E5C7E5}" dt="2025-05-21T08:10:52.756" v="33" actId="729"/>
        <pc:sldMkLst>
          <pc:docMk/>
          <pc:sldMk cId="818691620" sldId="2147482635"/>
        </pc:sldMkLst>
      </pc:sldChg>
      <pc:sldChg chg="del mod ord modShow">
        <pc:chgData name="Thomas Stegen" userId="22c4adc426855124" providerId="LiveId" clId="{A15F97B9-14AB-4B3B-A844-0D79C1E5C7E5}" dt="2025-05-21T08:17:37.307" v="199" actId="47"/>
        <pc:sldMkLst>
          <pc:docMk/>
          <pc:sldMk cId="83263960" sldId="2147482636"/>
        </pc:sldMkLst>
      </pc:sldChg>
      <pc:sldChg chg="new del">
        <pc:chgData name="Thomas Stegen" userId="22c4adc426855124" providerId="LiveId" clId="{A15F97B9-14AB-4B3B-A844-0D79C1E5C7E5}" dt="2025-05-21T08:10:49.955" v="32" actId="680"/>
        <pc:sldMkLst>
          <pc:docMk/>
          <pc:sldMk cId="1725515912" sldId="2147482639"/>
        </pc:sldMkLst>
      </pc:sldChg>
      <pc:sldChg chg="addSp modSp new mod">
        <pc:chgData name="Thomas Stegen" userId="22c4adc426855124" providerId="LiveId" clId="{A15F97B9-14AB-4B3B-A844-0D79C1E5C7E5}" dt="2025-05-21T11:50:13.701" v="4525" actId="20577"/>
        <pc:sldMkLst>
          <pc:docMk/>
          <pc:sldMk cId="3888118281" sldId="2147482639"/>
        </pc:sldMkLst>
        <pc:spChg chg="mod">
          <ac:chgData name="Thomas Stegen" userId="22c4adc426855124" providerId="LiveId" clId="{A15F97B9-14AB-4B3B-A844-0D79C1E5C7E5}" dt="2025-05-21T08:12:15.048" v="93" actId="20577"/>
          <ac:spMkLst>
            <pc:docMk/>
            <pc:sldMk cId="3888118281" sldId="2147482639"/>
            <ac:spMk id="2" creationId="{EE8F4B37-5A4A-556D-0D84-F5899B145732}"/>
          </ac:spMkLst>
        </pc:spChg>
        <pc:spChg chg="add mod">
          <ac:chgData name="Thomas Stegen" userId="22c4adc426855124" providerId="LiveId" clId="{A15F97B9-14AB-4B3B-A844-0D79C1E5C7E5}" dt="2025-05-21T11:48:36.667" v="4405" actId="1076"/>
          <ac:spMkLst>
            <pc:docMk/>
            <pc:sldMk cId="3888118281" sldId="2147482639"/>
            <ac:spMk id="4" creationId="{B02F6158-F504-D44B-6C30-CFD648D97672}"/>
          </ac:spMkLst>
        </pc:spChg>
        <pc:spChg chg="add mod">
          <ac:chgData name="Thomas Stegen" userId="22c4adc426855124" providerId="LiveId" clId="{A15F97B9-14AB-4B3B-A844-0D79C1E5C7E5}" dt="2025-05-21T11:50:13.701" v="4525" actId="20577"/>
          <ac:spMkLst>
            <pc:docMk/>
            <pc:sldMk cId="3888118281" sldId="2147482639"/>
            <ac:spMk id="5" creationId="{6FC6B697-BD6D-E8B0-1CDF-663F70EB6CBB}"/>
          </ac:spMkLst>
        </pc:spChg>
        <pc:picChg chg="add mod">
          <ac:chgData name="Thomas Stegen" userId="22c4adc426855124" providerId="LiveId" clId="{A15F97B9-14AB-4B3B-A844-0D79C1E5C7E5}" dt="2025-05-21T11:48:34.411" v="4404" actId="1076"/>
          <ac:picMkLst>
            <pc:docMk/>
            <pc:sldMk cId="3888118281" sldId="2147482639"/>
            <ac:picMk id="4098" creationId="{DF6DED6A-D930-EF4A-0EE9-1D0AD814E95B}"/>
          </ac:picMkLst>
        </pc:picChg>
      </pc:sldChg>
      <pc:sldChg chg="addSp delSp modSp add mod modClrScheme chgLayout">
        <pc:chgData name="Thomas Stegen" userId="22c4adc426855124" providerId="LiveId" clId="{A15F97B9-14AB-4B3B-A844-0D79C1E5C7E5}" dt="2025-05-21T09:43:23.311" v="2313" actId="20577"/>
        <pc:sldMkLst>
          <pc:docMk/>
          <pc:sldMk cId="974908301" sldId="2147482640"/>
        </pc:sldMkLst>
        <pc:spChg chg="mod ord">
          <ac:chgData name="Thomas Stegen" userId="22c4adc426855124" providerId="LiveId" clId="{A15F97B9-14AB-4B3B-A844-0D79C1E5C7E5}" dt="2025-05-21T09:39:39.312" v="1943" actId="700"/>
          <ac:spMkLst>
            <pc:docMk/>
            <pc:sldMk cId="974908301" sldId="2147482640"/>
            <ac:spMk id="2" creationId="{F9AB7329-397C-0F4F-68CE-3D19DCA476D4}"/>
          </ac:spMkLst>
        </pc:spChg>
        <pc:spChg chg="mod ord">
          <ac:chgData name="Thomas Stegen" userId="22c4adc426855124" providerId="LiveId" clId="{A15F97B9-14AB-4B3B-A844-0D79C1E5C7E5}" dt="2025-05-21T09:39:39.312" v="1943" actId="700"/>
          <ac:spMkLst>
            <pc:docMk/>
            <pc:sldMk cId="974908301" sldId="2147482640"/>
            <ac:spMk id="3" creationId="{C5A9DECC-87E9-5FF1-4E7D-CB1C4DB2B615}"/>
          </ac:spMkLst>
        </pc:spChg>
        <pc:spChg chg="add del">
          <ac:chgData name="Thomas Stegen" userId="22c4adc426855124" providerId="LiveId" clId="{A15F97B9-14AB-4B3B-A844-0D79C1E5C7E5}" dt="2025-05-21T09:38:03.729" v="1933" actId="22"/>
          <ac:spMkLst>
            <pc:docMk/>
            <pc:sldMk cId="974908301" sldId="2147482640"/>
            <ac:spMk id="5" creationId="{76DCFD50-ED69-FF11-7B1C-00CE418D9136}"/>
          </ac:spMkLst>
        </pc:spChg>
        <pc:spChg chg="add mod ord">
          <ac:chgData name="Thomas Stegen" userId="22c4adc426855124" providerId="LiveId" clId="{A15F97B9-14AB-4B3B-A844-0D79C1E5C7E5}" dt="2025-05-21T09:42:01.154" v="2120" actId="14100"/>
          <ac:spMkLst>
            <pc:docMk/>
            <pc:sldMk cId="974908301" sldId="2147482640"/>
            <ac:spMk id="8" creationId="{BB095902-BA34-E0A7-8F90-9F7D390064B6}"/>
          </ac:spMkLst>
        </pc:spChg>
        <pc:spChg chg="add mod">
          <ac:chgData name="Thomas Stegen" userId="22c4adc426855124" providerId="LiveId" clId="{A15F97B9-14AB-4B3B-A844-0D79C1E5C7E5}" dt="2025-05-21T09:41:50.814" v="2119" actId="20577"/>
          <ac:spMkLst>
            <pc:docMk/>
            <pc:sldMk cId="974908301" sldId="2147482640"/>
            <ac:spMk id="10" creationId="{F921C7E8-98FC-8B8D-14A7-86538F4F4257}"/>
          </ac:spMkLst>
        </pc:spChg>
        <pc:spChg chg="add mod">
          <ac:chgData name="Thomas Stegen" userId="22c4adc426855124" providerId="LiveId" clId="{A15F97B9-14AB-4B3B-A844-0D79C1E5C7E5}" dt="2025-05-21T09:43:23.311" v="2313" actId="20577"/>
          <ac:spMkLst>
            <pc:docMk/>
            <pc:sldMk cId="974908301" sldId="2147482640"/>
            <ac:spMk id="11" creationId="{DDF9FAE5-2F21-9B8F-4838-EBADA80B344D}"/>
          </ac:spMkLst>
        </pc:spChg>
        <pc:picChg chg="add del mod">
          <ac:chgData name="Thomas Stegen" userId="22c4adc426855124" providerId="LiveId" clId="{A15F97B9-14AB-4B3B-A844-0D79C1E5C7E5}" dt="2025-05-21T09:39:32.644" v="1941" actId="478"/>
          <ac:picMkLst>
            <pc:docMk/>
            <pc:sldMk cId="974908301" sldId="2147482640"/>
            <ac:picMk id="6" creationId="{5C98A9B6-95F8-A14F-CD2B-14D0712336D3}"/>
          </ac:picMkLst>
        </pc:picChg>
        <pc:picChg chg="add mod">
          <ac:chgData name="Thomas Stegen" userId="22c4adc426855124" providerId="LiveId" clId="{A15F97B9-14AB-4B3B-A844-0D79C1E5C7E5}" dt="2025-05-21T09:42:42.648" v="2215" actId="1076"/>
          <ac:picMkLst>
            <pc:docMk/>
            <pc:sldMk cId="974908301" sldId="2147482640"/>
            <ac:picMk id="7" creationId="{9EE026AB-9016-5DBF-D2CF-FC91263FBC51}"/>
          </ac:picMkLst>
        </pc:picChg>
      </pc:sldChg>
      <pc:sldChg chg="modSp add del mod">
        <pc:chgData name="Thomas Stegen" userId="22c4adc426855124" providerId="LiveId" clId="{A15F97B9-14AB-4B3B-A844-0D79C1E5C7E5}" dt="2025-05-21T09:21:14.427" v="1659" actId="47"/>
        <pc:sldMkLst>
          <pc:docMk/>
          <pc:sldMk cId="625613186" sldId="2147482641"/>
        </pc:sldMkLst>
        <pc:spChg chg="mod">
          <ac:chgData name="Thomas Stegen" userId="22c4adc426855124" providerId="LiveId" clId="{A15F97B9-14AB-4B3B-A844-0D79C1E5C7E5}" dt="2025-05-21T09:21:12.741" v="1658" actId="21"/>
          <ac:spMkLst>
            <pc:docMk/>
            <pc:sldMk cId="625613186" sldId="2147482641"/>
            <ac:spMk id="2" creationId="{1E046470-C5CA-D034-AE0E-CFE2D157B5B3}"/>
          </ac:spMkLst>
        </pc:spChg>
      </pc:sldChg>
      <pc:sldChg chg="addSp modSp add mod">
        <pc:chgData name="Thomas Stegen" userId="22c4adc426855124" providerId="LiveId" clId="{A15F97B9-14AB-4B3B-A844-0D79C1E5C7E5}" dt="2025-05-21T11:37:58.093" v="4329" actId="1036"/>
        <pc:sldMkLst>
          <pc:docMk/>
          <pc:sldMk cId="3448715104" sldId="2147482642"/>
        </pc:sldMkLst>
        <pc:spChg chg="mod">
          <ac:chgData name="Thomas Stegen" userId="22c4adc426855124" providerId="LiveId" clId="{A15F97B9-14AB-4B3B-A844-0D79C1E5C7E5}" dt="2025-05-21T08:12:53.584" v="161" actId="20577"/>
          <ac:spMkLst>
            <pc:docMk/>
            <pc:sldMk cId="3448715104" sldId="2147482642"/>
            <ac:spMk id="2" creationId="{BA3252D3-8218-DDBF-A418-FCE0547EBBDE}"/>
          </ac:spMkLst>
        </pc:spChg>
        <pc:spChg chg="add mod">
          <ac:chgData name="Thomas Stegen" userId="22c4adc426855124" providerId="LiveId" clId="{A15F97B9-14AB-4B3B-A844-0D79C1E5C7E5}" dt="2025-05-21T11:35:53.935" v="4204" actId="1035"/>
          <ac:spMkLst>
            <pc:docMk/>
            <pc:sldMk cId="3448715104" sldId="2147482642"/>
            <ac:spMk id="4" creationId="{6E549237-014E-141C-1CE6-4F48AEE7C92E}"/>
          </ac:spMkLst>
        </pc:spChg>
        <pc:spChg chg="add mod">
          <ac:chgData name="Thomas Stegen" userId="22c4adc426855124" providerId="LiveId" clId="{A15F97B9-14AB-4B3B-A844-0D79C1E5C7E5}" dt="2025-05-21T11:37:58.093" v="4329" actId="1036"/>
          <ac:spMkLst>
            <pc:docMk/>
            <pc:sldMk cId="3448715104" sldId="2147482642"/>
            <ac:spMk id="5" creationId="{04A7633F-A7A9-F7C9-BFAA-E871CA077DA5}"/>
          </ac:spMkLst>
        </pc:spChg>
        <pc:picChg chg="add mod">
          <ac:chgData name="Thomas Stegen" userId="22c4adc426855124" providerId="LiveId" clId="{A15F97B9-14AB-4B3B-A844-0D79C1E5C7E5}" dt="2025-05-21T11:35:53.935" v="4204" actId="1035"/>
          <ac:picMkLst>
            <pc:docMk/>
            <pc:sldMk cId="3448715104" sldId="2147482642"/>
            <ac:picMk id="3074" creationId="{755FDCAE-4547-ED0F-7010-9049E19FBA26}"/>
          </ac:picMkLst>
        </pc:picChg>
      </pc:sldChg>
      <pc:sldChg chg="addSp modSp add mod modClrScheme chgLayout">
        <pc:chgData name="Thomas Stegen" userId="22c4adc426855124" providerId="LiveId" clId="{A15F97B9-14AB-4B3B-A844-0D79C1E5C7E5}" dt="2025-05-21T12:02:08.731" v="4610" actId="1076"/>
        <pc:sldMkLst>
          <pc:docMk/>
          <pc:sldMk cId="3477202192" sldId="2147482643"/>
        </pc:sldMkLst>
        <pc:spChg chg="mod ord">
          <ac:chgData name="Thomas Stegen" userId="22c4adc426855124" providerId="LiveId" clId="{A15F97B9-14AB-4B3B-A844-0D79C1E5C7E5}" dt="2025-05-21T09:10:07.560" v="1099" actId="700"/>
          <ac:spMkLst>
            <pc:docMk/>
            <pc:sldMk cId="3477202192" sldId="2147482643"/>
            <ac:spMk id="2" creationId="{5D4C619D-DBA9-92F2-5A9F-8759F29954E9}"/>
          </ac:spMkLst>
        </pc:spChg>
        <pc:spChg chg="mod ord">
          <ac:chgData name="Thomas Stegen" userId="22c4adc426855124" providerId="LiveId" clId="{A15F97B9-14AB-4B3B-A844-0D79C1E5C7E5}" dt="2025-05-21T09:10:07.560" v="1099" actId="700"/>
          <ac:spMkLst>
            <pc:docMk/>
            <pc:sldMk cId="3477202192" sldId="2147482643"/>
            <ac:spMk id="3" creationId="{95D09C99-23BE-E545-BE9C-A3C04D91B8A8}"/>
          </ac:spMkLst>
        </pc:spChg>
        <pc:spChg chg="add mod ord">
          <ac:chgData name="Thomas Stegen" userId="22c4adc426855124" providerId="LiveId" clId="{A15F97B9-14AB-4B3B-A844-0D79C1E5C7E5}" dt="2025-05-21T12:00:53.228" v="4583"/>
          <ac:spMkLst>
            <pc:docMk/>
            <pc:sldMk cId="3477202192" sldId="2147482643"/>
            <ac:spMk id="4" creationId="{2D6EE216-E259-559E-7BE0-AFFDB976B32E}"/>
          </ac:spMkLst>
        </pc:spChg>
        <pc:spChg chg="add mod ord">
          <ac:chgData name="Thomas Stegen" userId="22c4adc426855124" providerId="LiveId" clId="{A15F97B9-14AB-4B3B-A844-0D79C1E5C7E5}" dt="2025-05-21T12:01:06.886" v="4591"/>
          <ac:spMkLst>
            <pc:docMk/>
            <pc:sldMk cId="3477202192" sldId="2147482643"/>
            <ac:spMk id="5" creationId="{402F080B-F2AB-25A6-2462-E350856A04F8}"/>
          </ac:spMkLst>
        </pc:spChg>
        <pc:spChg chg="add mod ord">
          <ac:chgData name="Thomas Stegen" userId="22c4adc426855124" providerId="LiveId" clId="{A15F97B9-14AB-4B3B-A844-0D79C1E5C7E5}" dt="2025-05-21T12:01:24.352" v="4598" actId="5793"/>
          <ac:spMkLst>
            <pc:docMk/>
            <pc:sldMk cId="3477202192" sldId="2147482643"/>
            <ac:spMk id="6" creationId="{D9FA3205-0547-1EE7-F9A7-C3C6068C9D36}"/>
          </ac:spMkLst>
        </pc:spChg>
        <pc:spChg chg="add mod ord">
          <ac:chgData name="Thomas Stegen" userId="22c4adc426855124" providerId="LiveId" clId="{A15F97B9-14AB-4B3B-A844-0D79C1E5C7E5}" dt="2025-05-21T12:01:05.093" v="4589" actId="27636"/>
          <ac:spMkLst>
            <pc:docMk/>
            <pc:sldMk cId="3477202192" sldId="2147482643"/>
            <ac:spMk id="7" creationId="{1488B158-B5A4-F60A-D339-BD4F5B4A181E}"/>
          </ac:spMkLst>
        </pc:spChg>
        <pc:spChg chg="add mod ord">
          <ac:chgData name="Thomas Stegen" userId="22c4adc426855124" providerId="LiveId" clId="{A15F97B9-14AB-4B3B-A844-0D79C1E5C7E5}" dt="2025-05-21T12:00:58.481" v="4586"/>
          <ac:spMkLst>
            <pc:docMk/>
            <pc:sldMk cId="3477202192" sldId="2147482643"/>
            <ac:spMk id="8" creationId="{8D4CC1D3-D867-62AD-3C5B-945527831EE2}"/>
          </ac:spMkLst>
        </pc:spChg>
        <pc:spChg chg="add mod ord">
          <ac:chgData name="Thomas Stegen" userId="22c4adc426855124" providerId="LiveId" clId="{A15F97B9-14AB-4B3B-A844-0D79C1E5C7E5}" dt="2025-05-21T12:01:09.414" v="4597" actId="20577"/>
          <ac:spMkLst>
            <pc:docMk/>
            <pc:sldMk cId="3477202192" sldId="2147482643"/>
            <ac:spMk id="9" creationId="{62FE7094-CC50-48CF-082F-A1A0D0DF985D}"/>
          </ac:spMkLst>
        </pc:spChg>
        <pc:picChg chg="add mod">
          <ac:chgData name="Thomas Stegen" userId="22c4adc426855124" providerId="LiveId" clId="{A15F97B9-14AB-4B3B-A844-0D79C1E5C7E5}" dt="2025-05-21T12:02:08.731" v="4610" actId="1076"/>
          <ac:picMkLst>
            <pc:docMk/>
            <pc:sldMk cId="3477202192" sldId="2147482643"/>
            <ac:picMk id="10" creationId="{34A4A131-98EF-FD14-879A-6DFB731ACA5B}"/>
          </ac:picMkLst>
        </pc:picChg>
      </pc:sldChg>
      <pc:sldChg chg="addSp delSp modSp new mod">
        <pc:chgData name="Thomas Stegen" userId="22c4adc426855124" providerId="LiveId" clId="{A15F97B9-14AB-4B3B-A844-0D79C1E5C7E5}" dt="2025-05-21T11:58:33.331" v="4581" actId="14100"/>
        <pc:sldMkLst>
          <pc:docMk/>
          <pc:sldMk cId="3188410515" sldId="2147482644"/>
        </pc:sldMkLst>
        <pc:spChg chg="mod">
          <ac:chgData name="Thomas Stegen" userId="22c4adc426855124" providerId="LiveId" clId="{A15F97B9-14AB-4B3B-A844-0D79C1E5C7E5}" dt="2025-05-21T11:55:57.463" v="4548" actId="14100"/>
          <ac:spMkLst>
            <pc:docMk/>
            <pc:sldMk cId="3188410515" sldId="2147482644"/>
            <ac:spMk id="2" creationId="{1548C08C-1048-E7FE-3E73-3B8EA5ABCD05}"/>
          </ac:spMkLst>
        </pc:spChg>
        <pc:spChg chg="mod">
          <ac:chgData name="Thomas Stegen" userId="22c4adc426855124" providerId="LiveId" clId="{A15F97B9-14AB-4B3B-A844-0D79C1E5C7E5}" dt="2025-05-21T08:18:21.277" v="239" actId="20577"/>
          <ac:spMkLst>
            <pc:docMk/>
            <pc:sldMk cId="3188410515" sldId="2147482644"/>
            <ac:spMk id="4" creationId="{EC0F6967-4D29-AB4B-E8EC-7BF6028AF3F7}"/>
          </ac:spMkLst>
        </pc:spChg>
        <pc:picChg chg="add del mod modCrop">
          <ac:chgData name="Thomas Stegen" userId="22c4adc426855124" providerId="LiveId" clId="{A15F97B9-14AB-4B3B-A844-0D79C1E5C7E5}" dt="2025-05-21T11:55:54.030" v="4547" actId="478"/>
          <ac:picMkLst>
            <pc:docMk/>
            <pc:sldMk cId="3188410515" sldId="2147482644"/>
            <ac:picMk id="6" creationId="{86611126-368B-163C-0824-FA421F8959FE}"/>
          </ac:picMkLst>
        </pc:picChg>
        <pc:picChg chg="add del mod modCrop">
          <ac:chgData name="Thomas Stegen" userId="22c4adc426855124" providerId="LiveId" clId="{A15F97B9-14AB-4B3B-A844-0D79C1E5C7E5}" dt="2025-05-21T11:55:54.030" v="4547" actId="478"/>
          <ac:picMkLst>
            <pc:docMk/>
            <pc:sldMk cId="3188410515" sldId="2147482644"/>
            <ac:picMk id="7" creationId="{64EFCD8A-4A7F-7B20-992C-3CC4D6B52A1B}"/>
          </ac:picMkLst>
        </pc:picChg>
        <pc:picChg chg="add mod modCrop">
          <ac:chgData name="Thomas Stegen" userId="22c4adc426855124" providerId="LiveId" clId="{A15F97B9-14AB-4B3B-A844-0D79C1E5C7E5}" dt="2025-05-21T11:58:33.331" v="4581" actId="14100"/>
          <ac:picMkLst>
            <pc:docMk/>
            <pc:sldMk cId="3188410515" sldId="2147482644"/>
            <ac:picMk id="9" creationId="{996BF30D-589E-A006-27D6-06B397BACDE9}"/>
          </ac:picMkLst>
        </pc:picChg>
        <pc:picChg chg="add mod modCrop">
          <ac:chgData name="Thomas Stegen" userId="22c4adc426855124" providerId="LiveId" clId="{A15F97B9-14AB-4B3B-A844-0D79C1E5C7E5}" dt="2025-05-21T11:58:33.331" v="4581" actId="14100"/>
          <ac:picMkLst>
            <pc:docMk/>
            <pc:sldMk cId="3188410515" sldId="2147482644"/>
            <ac:picMk id="10" creationId="{979B5FB8-EB44-7B9E-7821-D6642DE3CFBF}"/>
          </ac:picMkLst>
        </pc:picChg>
      </pc:sldChg>
      <pc:sldChg chg="addSp modSp add mod">
        <pc:chgData name="Thomas Stegen" userId="22c4adc426855124" providerId="LiveId" clId="{A15F97B9-14AB-4B3B-A844-0D79C1E5C7E5}" dt="2025-05-21T11:06:42.801" v="3686" actId="20577"/>
        <pc:sldMkLst>
          <pc:docMk/>
          <pc:sldMk cId="1757498175" sldId="2147482645"/>
        </pc:sldMkLst>
        <pc:spChg chg="mod">
          <ac:chgData name="Thomas Stegen" userId="22c4adc426855124" providerId="LiveId" clId="{A15F97B9-14AB-4B3B-A844-0D79C1E5C7E5}" dt="2025-05-21T11:06:42.801" v="3686" actId="20577"/>
          <ac:spMkLst>
            <pc:docMk/>
            <pc:sldMk cId="1757498175" sldId="2147482645"/>
            <ac:spMk id="2" creationId="{1E7CBA36-011B-0001-EAEC-427A9D0D79DD}"/>
          </ac:spMkLst>
        </pc:spChg>
        <pc:spChg chg="mod">
          <ac:chgData name="Thomas Stegen" userId="22c4adc426855124" providerId="LiveId" clId="{A15F97B9-14AB-4B3B-A844-0D79C1E5C7E5}" dt="2025-05-21T08:25:37.728" v="347" actId="20577"/>
          <ac:spMkLst>
            <pc:docMk/>
            <pc:sldMk cId="1757498175" sldId="2147482645"/>
            <ac:spMk id="4" creationId="{77E2FDB6-CED4-D287-CB07-7AF19A49984B}"/>
          </ac:spMkLst>
        </pc:spChg>
        <pc:graphicFrameChg chg="add mod modGraphic">
          <ac:chgData name="Thomas Stegen" userId="22c4adc426855124" providerId="LiveId" clId="{A15F97B9-14AB-4B3B-A844-0D79C1E5C7E5}" dt="2025-05-21T11:04:53.182" v="3527" actId="20577"/>
          <ac:graphicFrameMkLst>
            <pc:docMk/>
            <pc:sldMk cId="1757498175" sldId="2147482645"/>
            <ac:graphicFrameMk id="5" creationId="{8724C872-4D08-9DEB-9C16-DEB3C755B88C}"/>
          </ac:graphicFrameMkLst>
        </pc:graphicFrameChg>
      </pc:sldChg>
      <pc:sldChg chg="addSp delSp modSp add mod">
        <pc:chgData name="Thomas Stegen" userId="22c4adc426855124" providerId="LiveId" clId="{A15F97B9-14AB-4B3B-A844-0D79C1E5C7E5}" dt="2025-05-21T11:25:29.869" v="4181" actId="20577"/>
        <pc:sldMkLst>
          <pc:docMk/>
          <pc:sldMk cId="1459208045" sldId="2147482646"/>
        </pc:sldMkLst>
        <pc:spChg chg="add del mod">
          <ac:chgData name="Thomas Stegen" userId="22c4adc426855124" providerId="LiveId" clId="{A15F97B9-14AB-4B3B-A844-0D79C1E5C7E5}" dt="2025-05-21T11:24:55.838" v="4119"/>
          <ac:spMkLst>
            <pc:docMk/>
            <pc:sldMk cId="1459208045" sldId="2147482646"/>
            <ac:spMk id="2" creationId="{2C7236EB-6481-F091-CDF8-5445BDD0E55B}"/>
          </ac:spMkLst>
        </pc:spChg>
        <pc:spChg chg="mod">
          <ac:chgData name="Thomas Stegen" userId="22c4adc426855124" providerId="LiveId" clId="{A15F97B9-14AB-4B3B-A844-0D79C1E5C7E5}" dt="2025-05-21T08:25:51.447" v="369" actId="20577"/>
          <ac:spMkLst>
            <pc:docMk/>
            <pc:sldMk cId="1459208045" sldId="2147482646"/>
            <ac:spMk id="4" creationId="{80E8BA9E-33AB-2DB8-A970-D52D71C143D0}"/>
          </ac:spMkLst>
        </pc:spChg>
        <pc:spChg chg="add mod">
          <ac:chgData name="Thomas Stegen" userId="22c4adc426855124" providerId="LiveId" clId="{A15F97B9-14AB-4B3B-A844-0D79C1E5C7E5}" dt="2025-05-21T11:24:54.497" v="4118" actId="21"/>
          <ac:spMkLst>
            <pc:docMk/>
            <pc:sldMk cId="1459208045" sldId="2147482646"/>
            <ac:spMk id="5" creationId="{AC764395-72D7-F21F-FE90-89907C5DA491}"/>
          </ac:spMkLst>
        </pc:spChg>
        <pc:graphicFrameChg chg="add mod modGraphic">
          <ac:chgData name="Thomas Stegen" userId="22c4adc426855124" providerId="LiveId" clId="{A15F97B9-14AB-4B3B-A844-0D79C1E5C7E5}" dt="2025-05-21T11:25:29.869" v="4181" actId="20577"/>
          <ac:graphicFrameMkLst>
            <pc:docMk/>
            <pc:sldMk cId="1459208045" sldId="2147482646"/>
            <ac:graphicFrameMk id="6" creationId="{D7DB2C93-A127-EA91-7675-CA507D0A632C}"/>
          </ac:graphicFrameMkLst>
        </pc:graphicFrameChg>
      </pc:sldChg>
      <pc:sldChg chg="modSp add mod">
        <pc:chgData name="Thomas Stegen" userId="22c4adc426855124" providerId="LiveId" clId="{A15F97B9-14AB-4B3B-A844-0D79C1E5C7E5}" dt="2025-05-21T08:52:28.764" v="1098" actId="20577"/>
        <pc:sldMkLst>
          <pc:docMk/>
          <pc:sldMk cId="2457114393" sldId="2147482647"/>
        </pc:sldMkLst>
        <pc:spChg chg="mod">
          <ac:chgData name="Thomas Stegen" userId="22c4adc426855124" providerId="LiveId" clId="{A15F97B9-14AB-4B3B-A844-0D79C1E5C7E5}" dt="2025-05-21T08:52:28.764" v="1098" actId="20577"/>
          <ac:spMkLst>
            <pc:docMk/>
            <pc:sldMk cId="2457114393" sldId="2147482647"/>
            <ac:spMk id="2" creationId="{DA3A9428-47BB-C704-2CD4-A078D631A3BB}"/>
          </ac:spMkLst>
        </pc:spChg>
        <pc:spChg chg="mod">
          <ac:chgData name="Thomas Stegen" userId="22c4adc426855124" providerId="LiveId" clId="{A15F97B9-14AB-4B3B-A844-0D79C1E5C7E5}" dt="2025-05-21T08:26:13.416" v="398" actId="20577"/>
          <ac:spMkLst>
            <pc:docMk/>
            <pc:sldMk cId="2457114393" sldId="2147482647"/>
            <ac:spMk id="4" creationId="{55C18E9D-E9BE-35EB-B035-6254770877C4}"/>
          </ac:spMkLst>
        </pc:spChg>
      </pc:sldChg>
      <pc:sldChg chg="addSp delSp modSp new mod">
        <pc:chgData name="Thomas Stegen" userId="22c4adc426855124" providerId="LiveId" clId="{A15F97B9-14AB-4B3B-A844-0D79C1E5C7E5}" dt="2025-05-21T10:27:46.571" v="3212" actId="1037"/>
        <pc:sldMkLst>
          <pc:docMk/>
          <pc:sldMk cId="2876816235" sldId="2147482648"/>
        </pc:sldMkLst>
        <pc:spChg chg="mod">
          <ac:chgData name="Thomas Stegen" userId="22c4adc426855124" providerId="LiveId" clId="{A15F97B9-14AB-4B3B-A844-0D79C1E5C7E5}" dt="2025-05-21T09:21:15.771" v="1660"/>
          <ac:spMkLst>
            <pc:docMk/>
            <pc:sldMk cId="2876816235" sldId="2147482648"/>
            <ac:spMk id="2" creationId="{DF4C6DAC-6BDB-AFDB-DA25-8EBDB7FC8DE9}"/>
          </ac:spMkLst>
        </pc:spChg>
        <pc:spChg chg="add del">
          <ac:chgData name="Thomas Stegen" userId="22c4adc426855124" providerId="LiveId" clId="{A15F97B9-14AB-4B3B-A844-0D79C1E5C7E5}" dt="2025-05-21T10:05:54.401" v="3097"/>
          <ac:spMkLst>
            <pc:docMk/>
            <pc:sldMk cId="2876816235" sldId="2147482648"/>
            <ac:spMk id="4" creationId="{DAE0BD1A-F9EA-EF53-2152-80EE744BABD6}"/>
          </ac:spMkLst>
        </pc:spChg>
        <pc:spChg chg="mod">
          <ac:chgData name="Thomas Stegen" userId="22c4adc426855124" providerId="LiveId" clId="{A15F97B9-14AB-4B3B-A844-0D79C1E5C7E5}" dt="2025-05-21T09:22:55.258" v="1931" actId="20577"/>
          <ac:spMkLst>
            <pc:docMk/>
            <pc:sldMk cId="2876816235" sldId="2147482648"/>
            <ac:spMk id="5" creationId="{AC7F6CD6-ADA2-FC15-429A-93366F266483}"/>
          </ac:spMkLst>
        </pc:spChg>
        <pc:picChg chg="add mod">
          <ac:chgData name="Thomas Stegen" userId="22c4adc426855124" providerId="LiveId" clId="{A15F97B9-14AB-4B3B-A844-0D79C1E5C7E5}" dt="2025-05-21T10:05:38.710" v="3092"/>
          <ac:picMkLst>
            <pc:docMk/>
            <pc:sldMk cId="2876816235" sldId="2147482648"/>
            <ac:picMk id="6" creationId="{BB7A9E9D-9BE3-83EB-97B8-FE7656D0AD01}"/>
          </ac:picMkLst>
        </pc:picChg>
        <pc:picChg chg="add mod">
          <ac:chgData name="Thomas Stegen" userId="22c4adc426855124" providerId="LiveId" clId="{A15F97B9-14AB-4B3B-A844-0D79C1E5C7E5}" dt="2025-05-21T10:05:54.357" v="3096"/>
          <ac:picMkLst>
            <pc:docMk/>
            <pc:sldMk cId="2876816235" sldId="2147482648"/>
            <ac:picMk id="7" creationId="{8866CFC6-2040-91F3-B486-590C45026C1F}"/>
          </ac:picMkLst>
        </pc:picChg>
        <pc:picChg chg="add mod modCrop">
          <ac:chgData name="Thomas Stegen" userId="22c4adc426855124" providerId="LiveId" clId="{A15F97B9-14AB-4B3B-A844-0D79C1E5C7E5}" dt="2025-05-21T10:27:46.571" v="3212" actId="1037"/>
          <ac:picMkLst>
            <pc:docMk/>
            <pc:sldMk cId="2876816235" sldId="2147482648"/>
            <ac:picMk id="8" creationId="{4E386AC7-B912-75AC-5129-9C64F29FC15A}"/>
          </ac:picMkLst>
        </pc:picChg>
        <pc:picChg chg="add del mod">
          <ac:chgData name="Thomas Stegen" userId="22c4adc426855124" providerId="LiveId" clId="{A15F97B9-14AB-4B3B-A844-0D79C1E5C7E5}" dt="2025-05-21T10:26:48.365" v="3130" actId="478"/>
          <ac:picMkLst>
            <pc:docMk/>
            <pc:sldMk cId="2876816235" sldId="2147482648"/>
            <ac:picMk id="2050" creationId="{68C8EA3B-9455-F66E-4616-6F3333C6795A}"/>
          </ac:picMkLst>
        </pc:picChg>
        <pc:picChg chg="add mod">
          <ac:chgData name="Thomas Stegen" userId="22c4adc426855124" providerId="LiveId" clId="{A15F97B9-14AB-4B3B-A844-0D79C1E5C7E5}" dt="2025-05-21T10:27:46.571" v="3212" actId="1037"/>
          <ac:picMkLst>
            <pc:docMk/>
            <pc:sldMk cId="2876816235" sldId="2147482648"/>
            <ac:picMk id="2052" creationId="{097D850B-5213-223A-1917-AB9CA58D97F5}"/>
          </ac:picMkLst>
        </pc:picChg>
      </pc:sldChg>
      <pc:sldChg chg="addSp modSp add mod modClrScheme chgLayout">
        <pc:chgData name="Thomas Stegen" userId="22c4adc426855124" providerId="LiveId" clId="{A15F97B9-14AB-4B3B-A844-0D79C1E5C7E5}" dt="2025-05-21T09:55:59.090" v="3091" actId="20577"/>
        <pc:sldMkLst>
          <pc:docMk/>
          <pc:sldMk cId="969342015" sldId="2147482649"/>
        </pc:sldMkLst>
        <pc:spChg chg="mod ord">
          <ac:chgData name="Thomas Stegen" userId="22c4adc426855124" providerId="LiveId" clId="{A15F97B9-14AB-4B3B-A844-0D79C1E5C7E5}" dt="2025-05-21T09:52:16.155" v="2792" actId="20577"/>
          <ac:spMkLst>
            <pc:docMk/>
            <pc:sldMk cId="969342015" sldId="2147482649"/>
            <ac:spMk id="2" creationId="{8DC9BC35-81FB-4C36-C5B3-BF843A82370B}"/>
          </ac:spMkLst>
        </pc:spChg>
        <pc:spChg chg="mod ord">
          <ac:chgData name="Thomas Stegen" userId="22c4adc426855124" providerId="LiveId" clId="{A15F97B9-14AB-4B3B-A844-0D79C1E5C7E5}" dt="2025-05-21T09:48:46.199" v="2390" actId="700"/>
          <ac:spMkLst>
            <pc:docMk/>
            <pc:sldMk cId="969342015" sldId="2147482649"/>
            <ac:spMk id="3" creationId="{17CC41D5-AFDA-77F4-CE30-6AF68102F632}"/>
          </ac:spMkLst>
        </pc:spChg>
        <pc:spChg chg="mod ord">
          <ac:chgData name="Thomas Stegen" userId="22c4adc426855124" providerId="LiveId" clId="{A15F97B9-14AB-4B3B-A844-0D79C1E5C7E5}" dt="2025-05-21T09:48:46.199" v="2390" actId="700"/>
          <ac:spMkLst>
            <pc:docMk/>
            <pc:sldMk cId="969342015" sldId="2147482649"/>
            <ac:spMk id="4" creationId="{4AB26C56-7DFA-8895-F84E-14DC3FF5C5D2}"/>
          </ac:spMkLst>
        </pc:spChg>
        <pc:spChg chg="add mod ord">
          <ac:chgData name="Thomas Stegen" userId="22c4adc426855124" providerId="LiveId" clId="{A15F97B9-14AB-4B3B-A844-0D79C1E5C7E5}" dt="2025-05-21T09:48:49.622" v="2399" actId="20577"/>
          <ac:spMkLst>
            <pc:docMk/>
            <pc:sldMk cId="969342015" sldId="2147482649"/>
            <ac:spMk id="5" creationId="{26B8F672-B339-E76A-6DD1-407E943F12C2}"/>
          </ac:spMkLst>
        </pc:spChg>
        <pc:spChg chg="add mod ord">
          <ac:chgData name="Thomas Stegen" userId="22c4adc426855124" providerId="LiveId" clId="{A15F97B9-14AB-4B3B-A844-0D79C1E5C7E5}" dt="2025-05-21T09:55:59.090" v="3091" actId="20577"/>
          <ac:spMkLst>
            <pc:docMk/>
            <pc:sldMk cId="969342015" sldId="2147482649"/>
            <ac:spMk id="6" creationId="{F02403FB-B619-28E6-7EE0-6D9DB4FAB4FF}"/>
          </ac:spMkLst>
        </pc:spChg>
        <pc:spChg chg="add mod ord">
          <ac:chgData name="Thomas Stegen" userId="22c4adc426855124" providerId="LiveId" clId="{A15F97B9-14AB-4B3B-A844-0D79C1E5C7E5}" dt="2025-05-21T09:48:53.213" v="2408" actId="20577"/>
          <ac:spMkLst>
            <pc:docMk/>
            <pc:sldMk cId="969342015" sldId="2147482649"/>
            <ac:spMk id="7" creationId="{0EBC9570-4BFF-9CB5-314E-7D078352D7F7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6280817-6253-A65E-5245-8E5F8A8DBB1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A060BC-7C87-9318-671C-3138D9528B6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FC6E17-EAE9-4A08-8C84-C5438D9C68D9}" type="datetimeFigureOut">
              <a:rPr lang="en-US" smtClean="0"/>
              <a:t>5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3725DE-EFE2-2D83-7BF9-FAC74B37876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7B6FB3-C494-FAE1-399C-881A5879C50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83D943-8217-4593-92F7-B4828B99A5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8735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5F1C36-3FE8-4A0E-BCA7-AB9D9238E8D6}" type="datetimeFigureOut">
              <a:rPr lang="en-US" smtClean="0"/>
              <a:t>5/2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C719CA-AB86-4407-BD23-4078FDC1E0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649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C719CA-AB86-4407-BD23-4078FDC1E07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8176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 err="1"/>
              <a:t>Here</a:t>
            </a:r>
            <a:r>
              <a:rPr lang="fr-BE" dirty="0"/>
              <a:t>, </a:t>
            </a:r>
            <a:r>
              <a:rPr lang="fr-BE" dirty="0" err="1"/>
              <a:t>we</a:t>
            </a:r>
            <a:r>
              <a:rPr lang="fr-BE" dirty="0"/>
              <a:t> </a:t>
            </a:r>
            <a:r>
              <a:rPr lang="fr-BE" dirty="0" err="1"/>
              <a:t>want</a:t>
            </a:r>
            <a:r>
              <a:rPr lang="fr-BE" dirty="0"/>
              <a:t> to model </a:t>
            </a:r>
            <a:r>
              <a:rPr lang="fr-BE" dirty="0" err="1"/>
              <a:t>flexibility</a:t>
            </a:r>
            <a:r>
              <a:rPr lang="fr-BE" dirty="0"/>
              <a:t> and</a:t>
            </a:r>
          </a:p>
          <a:p>
            <a:endParaRPr lang="fr-BE" dirty="0"/>
          </a:p>
          <a:p>
            <a:r>
              <a:rPr lang="fr-BE" dirty="0"/>
              <a:t>To </a:t>
            </a:r>
            <a:r>
              <a:rPr lang="fr-BE" dirty="0" err="1"/>
              <a:t>reach</a:t>
            </a:r>
            <a:r>
              <a:rPr lang="fr-BE" dirty="0"/>
              <a:t> the objective </a:t>
            </a:r>
            <a:r>
              <a:rPr lang="fr-BE" dirty="0" err="1"/>
              <a:t>we</a:t>
            </a:r>
            <a:r>
              <a:rPr lang="fr-BE" dirty="0"/>
              <a:t> </a:t>
            </a:r>
            <a:r>
              <a:rPr lang="fr-BE" dirty="0" err="1"/>
              <a:t>proposed</a:t>
            </a:r>
            <a:r>
              <a:rPr lang="fr-BE" dirty="0"/>
              <a:t> a </a:t>
            </a:r>
            <a:r>
              <a:rPr lang="fr-BE" dirty="0" err="1"/>
              <a:t>three</a:t>
            </a:r>
            <a:r>
              <a:rPr lang="fr-BE" dirty="0"/>
              <a:t> </a:t>
            </a:r>
            <a:r>
              <a:rPr lang="fr-BE" dirty="0" err="1"/>
              <a:t>step</a:t>
            </a:r>
            <a:r>
              <a:rPr lang="fr-BE" dirty="0"/>
              <a:t> </a:t>
            </a:r>
            <a:r>
              <a:rPr lang="fr-BE" dirty="0" err="1"/>
              <a:t>approach</a:t>
            </a: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AFC11B-03C7-4082-B604-D20A37FE8387}" type="slidenum">
              <a:rPr lang="fr-BE" smtClean="0"/>
              <a:t>1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620632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C719CA-AB86-4407-BD23-4078FDC1E07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7212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0E8708E-ABB1-B0A3-171D-AA58A17C5BDB}"/>
              </a:ext>
            </a:extLst>
          </p:cNvPr>
          <p:cNvSpPr/>
          <p:nvPr userDrawn="1"/>
        </p:nvSpPr>
        <p:spPr>
          <a:xfrm>
            <a:off x="11249247" y="123"/>
            <a:ext cx="942752" cy="829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Submission platform, Montefiore ULiege">
            <a:extLst>
              <a:ext uri="{FF2B5EF4-FFF2-40B4-BE49-F238E27FC236}">
                <a16:creationId xmlns:a16="http://schemas.microsoft.com/office/drawing/2014/main" id="{DB8DA5EA-1B48-050C-63CE-9D45DFA02D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01" y="1"/>
            <a:ext cx="4262499" cy="1122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ight Triangle 7">
            <a:extLst>
              <a:ext uri="{FF2B5EF4-FFF2-40B4-BE49-F238E27FC236}">
                <a16:creationId xmlns:a16="http://schemas.microsoft.com/office/drawing/2014/main" id="{D444071E-FBB4-8C0E-9E3A-1BCA5C601F2B}"/>
              </a:ext>
            </a:extLst>
          </p:cNvPr>
          <p:cNvSpPr>
            <a:spLocks noChangeAspect="1"/>
          </p:cNvSpPr>
          <p:nvPr userDrawn="1"/>
        </p:nvSpPr>
        <p:spPr>
          <a:xfrm>
            <a:off x="1" y="-3195"/>
            <a:ext cx="12192000" cy="6892945"/>
          </a:xfrm>
          <a:custGeom>
            <a:avLst/>
            <a:gdLst>
              <a:gd name="connsiteX0" fmla="*/ 0 w 14571406"/>
              <a:gd name="connsiteY0" fmla="*/ 9719187 h 9719187"/>
              <a:gd name="connsiteX1" fmla="*/ 0 w 14571406"/>
              <a:gd name="connsiteY1" fmla="*/ 0 h 9719187"/>
              <a:gd name="connsiteX2" fmla="*/ 14571406 w 14571406"/>
              <a:gd name="connsiteY2" fmla="*/ 9719187 h 9719187"/>
              <a:gd name="connsiteX3" fmla="*/ 0 w 14571406"/>
              <a:gd name="connsiteY3" fmla="*/ 9719187 h 9719187"/>
              <a:gd name="connsiteX0" fmla="*/ 0 w 14571406"/>
              <a:gd name="connsiteY0" fmla="*/ 9719187 h 9719187"/>
              <a:gd name="connsiteX1" fmla="*/ 0 w 14571406"/>
              <a:gd name="connsiteY1" fmla="*/ 0 h 9719187"/>
              <a:gd name="connsiteX2" fmla="*/ 12192000 w 14571406"/>
              <a:gd name="connsiteY2" fmla="*/ 8138038 h 9719187"/>
              <a:gd name="connsiteX3" fmla="*/ 14571406 w 14571406"/>
              <a:gd name="connsiteY3" fmla="*/ 9719187 h 9719187"/>
              <a:gd name="connsiteX4" fmla="*/ 0 w 14571406"/>
              <a:gd name="connsiteY4" fmla="*/ 9719187 h 9719187"/>
              <a:gd name="connsiteX0" fmla="*/ 0 w 12221906"/>
              <a:gd name="connsiteY0" fmla="*/ 9719187 h 9744587"/>
              <a:gd name="connsiteX1" fmla="*/ 0 w 12221906"/>
              <a:gd name="connsiteY1" fmla="*/ 0 h 9744587"/>
              <a:gd name="connsiteX2" fmla="*/ 12192000 w 12221906"/>
              <a:gd name="connsiteY2" fmla="*/ 8138038 h 9744587"/>
              <a:gd name="connsiteX3" fmla="*/ 12221906 w 12221906"/>
              <a:gd name="connsiteY3" fmla="*/ 9744587 h 9744587"/>
              <a:gd name="connsiteX4" fmla="*/ 0 w 12221906"/>
              <a:gd name="connsiteY4" fmla="*/ 9719187 h 9744587"/>
              <a:gd name="connsiteX0" fmla="*/ 0 w 12202856"/>
              <a:gd name="connsiteY0" fmla="*/ 9719187 h 9750937"/>
              <a:gd name="connsiteX1" fmla="*/ 0 w 12202856"/>
              <a:gd name="connsiteY1" fmla="*/ 0 h 9750937"/>
              <a:gd name="connsiteX2" fmla="*/ 12192000 w 12202856"/>
              <a:gd name="connsiteY2" fmla="*/ 8138038 h 9750937"/>
              <a:gd name="connsiteX3" fmla="*/ 12202856 w 12202856"/>
              <a:gd name="connsiteY3" fmla="*/ 9750937 h 9750937"/>
              <a:gd name="connsiteX4" fmla="*/ 0 w 12202856"/>
              <a:gd name="connsiteY4" fmla="*/ 9719187 h 9750937"/>
              <a:gd name="connsiteX0" fmla="*/ 0 w 12202856"/>
              <a:gd name="connsiteY0" fmla="*/ 9719187 h 9750937"/>
              <a:gd name="connsiteX1" fmla="*/ 0 w 12202856"/>
              <a:gd name="connsiteY1" fmla="*/ 0 h 9750937"/>
              <a:gd name="connsiteX2" fmla="*/ 4256690 w 12202856"/>
              <a:gd name="connsiteY2" fmla="*/ 2829657 h 9750937"/>
              <a:gd name="connsiteX3" fmla="*/ 12192000 w 12202856"/>
              <a:gd name="connsiteY3" fmla="*/ 8138038 h 9750937"/>
              <a:gd name="connsiteX4" fmla="*/ 12202856 w 12202856"/>
              <a:gd name="connsiteY4" fmla="*/ 9750937 h 9750937"/>
              <a:gd name="connsiteX5" fmla="*/ 0 w 12202856"/>
              <a:gd name="connsiteY5" fmla="*/ 9719187 h 9750937"/>
              <a:gd name="connsiteX0" fmla="*/ 0 w 12202856"/>
              <a:gd name="connsiteY0" fmla="*/ 6889530 h 6921280"/>
              <a:gd name="connsiteX1" fmla="*/ 10510 w 12202856"/>
              <a:gd name="connsiteY1" fmla="*/ 71198 h 6921280"/>
              <a:gd name="connsiteX2" fmla="*/ 4256690 w 12202856"/>
              <a:gd name="connsiteY2" fmla="*/ 0 h 6921280"/>
              <a:gd name="connsiteX3" fmla="*/ 12192000 w 12202856"/>
              <a:gd name="connsiteY3" fmla="*/ 5308381 h 6921280"/>
              <a:gd name="connsiteX4" fmla="*/ 12202856 w 12202856"/>
              <a:gd name="connsiteY4" fmla="*/ 6921280 h 6921280"/>
              <a:gd name="connsiteX5" fmla="*/ 0 w 12202856"/>
              <a:gd name="connsiteY5" fmla="*/ 6889530 h 6921280"/>
              <a:gd name="connsiteX0" fmla="*/ 0 w 12202856"/>
              <a:gd name="connsiteY0" fmla="*/ 6889530 h 6921280"/>
              <a:gd name="connsiteX1" fmla="*/ 5748 w 12202856"/>
              <a:gd name="connsiteY1" fmla="*/ 28335 h 6921280"/>
              <a:gd name="connsiteX2" fmla="*/ 4256690 w 12202856"/>
              <a:gd name="connsiteY2" fmla="*/ 0 h 6921280"/>
              <a:gd name="connsiteX3" fmla="*/ 12192000 w 12202856"/>
              <a:gd name="connsiteY3" fmla="*/ 5308381 h 6921280"/>
              <a:gd name="connsiteX4" fmla="*/ 12202856 w 12202856"/>
              <a:gd name="connsiteY4" fmla="*/ 6921280 h 6921280"/>
              <a:gd name="connsiteX5" fmla="*/ 0 w 12202856"/>
              <a:gd name="connsiteY5" fmla="*/ 6889530 h 6921280"/>
              <a:gd name="connsiteX0" fmla="*/ 0 w 12202856"/>
              <a:gd name="connsiteY0" fmla="*/ 6870480 h 6902230"/>
              <a:gd name="connsiteX1" fmla="*/ 5748 w 12202856"/>
              <a:gd name="connsiteY1" fmla="*/ 9285 h 6902230"/>
              <a:gd name="connsiteX2" fmla="*/ 4247165 w 12202856"/>
              <a:gd name="connsiteY2" fmla="*/ 0 h 6902230"/>
              <a:gd name="connsiteX3" fmla="*/ 12192000 w 12202856"/>
              <a:gd name="connsiteY3" fmla="*/ 5289331 h 6902230"/>
              <a:gd name="connsiteX4" fmla="*/ 12202856 w 12202856"/>
              <a:gd name="connsiteY4" fmla="*/ 6902230 h 6902230"/>
              <a:gd name="connsiteX5" fmla="*/ 0 w 12202856"/>
              <a:gd name="connsiteY5" fmla="*/ 6870480 h 6902230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2000 w 12202856"/>
              <a:gd name="connsiteY3" fmla="*/ 5280046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6763 w 12202856"/>
              <a:gd name="connsiteY3" fmla="*/ 5213371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07048"/>
              <a:gd name="connsiteY0" fmla="*/ 6861195 h 6892945"/>
              <a:gd name="connsiteX1" fmla="*/ 5748 w 12207048"/>
              <a:gd name="connsiteY1" fmla="*/ 0 h 6892945"/>
              <a:gd name="connsiteX2" fmla="*/ 4270977 w 12207048"/>
              <a:gd name="connsiteY2" fmla="*/ 240 h 6892945"/>
              <a:gd name="connsiteX3" fmla="*/ 12206288 w 12207048"/>
              <a:gd name="connsiteY3" fmla="*/ 5218133 h 6892945"/>
              <a:gd name="connsiteX4" fmla="*/ 12202856 w 12207048"/>
              <a:gd name="connsiteY4" fmla="*/ 6892945 h 6892945"/>
              <a:gd name="connsiteX5" fmla="*/ 0 w 12207048"/>
              <a:gd name="connsiteY5" fmla="*/ 6861195 h 6892945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1658 w 12202856"/>
              <a:gd name="connsiteY3" fmla="*/ 5254709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11273"/>
              <a:gd name="connsiteY0" fmla="*/ 6861195 h 6892945"/>
              <a:gd name="connsiteX1" fmla="*/ 5748 w 12211273"/>
              <a:gd name="connsiteY1" fmla="*/ 0 h 6892945"/>
              <a:gd name="connsiteX2" fmla="*/ 4270977 w 12211273"/>
              <a:gd name="connsiteY2" fmla="*/ 240 h 6892945"/>
              <a:gd name="connsiteX3" fmla="*/ 12210708 w 12211273"/>
              <a:gd name="connsiteY3" fmla="*/ 5229309 h 6892945"/>
              <a:gd name="connsiteX4" fmla="*/ 12202856 w 12211273"/>
              <a:gd name="connsiteY4" fmla="*/ 6892945 h 6892945"/>
              <a:gd name="connsiteX5" fmla="*/ 0 w 12211273"/>
              <a:gd name="connsiteY5" fmla="*/ 6861195 h 6892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11273" h="6892945">
                <a:moveTo>
                  <a:pt x="0" y="6861195"/>
                </a:moveTo>
                <a:cubicBezTo>
                  <a:pt x="3503" y="4588418"/>
                  <a:pt x="2245" y="2272777"/>
                  <a:pt x="5748" y="0"/>
                </a:cubicBezTo>
                <a:lnTo>
                  <a:pt x="4270977" y="240"/>
                </a:lnTo>
                <a:lnTo>
                  <a:pt x="12210708" y="5229309"/>
                </a:lnTo>
                <a:cubicBezTo>
                  <a:pt x="12214327" y="5766942"/>
                  <a:pt x="12199237" y="6355312"/>
                  <a:pt x="12202856" y="6892945"/>
                </a:cubicBezTo>
                <a:lnTo>
                  <a:pt x="0" y="686119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C81C83D4-F60B-5295-9DD3-4A125627F00B}"/>
              </a:ext>
            </a:extLst>
          </p:cNvPr>
          <p:cNvSpPr/>
          <p:nvPr userDrawn="1"/>
        </p:nvSpPr>
        <p:spPr>
          <a:xfrm rot="5400000" flipH="1">
            <a:off x="213822" y="-224332"/>
            <a:ext cx="6868508" cy="7296153"/>
          </a:xfrm>
          <a:custGeom>
            <a:avLst/>
            <a:gdLst>
              <a:gd name="connsiteX0" fmla="*/ 0 w 9719189"/>
              <a:gd name="connsiteY0" fmla="*/ 7296153 h 7296153"/>
              <a:gd name="connsiteX1" fmla="*/ 4859595 w 9719189"/>
              <a:gd name="connsiteY1" fmla="*/ 0 h 7296153"/>
              <a:gd name="connsiteX2" fmla="*/ 9719189 w 9719189"/>
              <a:gd name="connsiteY2" fmla="*/ 7296153 h 7296153"/>
              <a:gd name="connsiteX3" fmla="*/ 0 w 9719189"/>
              <a:gd name="connsiteY3" fmla="*/ 7296153 h 7296153"/>
              <a:gd name="connsiteX0" fmla="*/ 0 w 9719189"/>
              <a:gd name="connsiteY0" fmla="*/ 7296153 h 7296153"/>
              <a:gd name="connsiteX1" fmla="*/ 4859595 w 9719189"/>
              <a:gd name="connsiteY1" fmla="*/ 0 h 7296153"/>
              <a:gd name="connsiteX2" fmla="*/ 6868508 w 9719189"/>
              <a:gd name="connsiteY2" fmla="*/ 3039462 h 7296153"/>
              <a:gd name="connsiteX3" fmla="*/ 9719189 w 9719189"/>
              <a:gd name="connsiteY3" fmla="*/ 7296153 h 7296153"/>
              <a:gd name="connsiteX4" fmla="*/ 0 w 9719189"/>
              <a:gd name="connsiteY4" fmla="*/ 7296153 h 7296153"/>
              <a:gd name="connsiteX0" fmla="*/ 0 w 6868508"/>
              <a:gd name="connsiteY0" fmla="*/ 7296153 h 7296153"/>
              <a:gd name="connsiteX1" fmla="*/ 4859595 w 6868508"/>
              <a:gd name="connsiteY1" fmla="*/ 0 h 7296153"/>
              <a:gd name="connsiteX2" fmla="*/ 6868508 w 6868508"/>
              <a:gd name="connsiteY2" fmla="*/ 3039462 h 7296153"/>
              <a:gd name="connsiteX3" fmla="*/ 6828844 w 6868508"/>
              <a:gd name="connsiteY3" fmla="*/ 7285643 h 7296153"/>
              <a:gd name="connsiteX4" fmla="*/ 0 w 6868508"/>
              <a:gd name="connsiteY4" fmla="*/ 7296153 h 7296153"/>
              <a:gd name="connsiteX0" fmla="*/ 0 w 6868508"/>
              <a:gd name="connsiteY0" fmla="*/ 7296153 h 7296153"/>
              <a:gd name="connsiteX1" fmla="*/ 4859595 w 6868508"/>
              <a:gd name="connsiteY1" fmla="*/ 0 h 7296153"/>
              <a:gd name="connsiteX2" fmla="*/ 6868508 w 6868508"/>
              <a:gd name="connsiteY2" fmla="*/ 3039462 h 7296153"/>
              <a:gd name="connsiteX3" fmla="*/ 6835194 w 6868508"/>
              <a:gd name="connsiteY3" fmla="*/ 7285643 h 7296153"/>
              <a:gd name="connsiteX4" fmla="*/ 0 w 6868508"/>
              <a:gd name="connsiteY4" fmla="*/ 7296153 h 7296153"/>
              <a:gd name="connsiteX0" fmla="*/ 0 w 6868508"/>
              <a:gd name="connsiteY0" fmla="*/ 7296153 h 7296153"/>
              <a:gd name="connsiteX1" fmla="*/ 4859595 w 6868508"/>
              <a:gd name="connsiteY1" fmla="*/ 0 h 7296153"/>
              <a:gd name="connsiteX2" fmla="*/ 6868508 w 6868508"/>
              <a:gd name="connsiteY2" fmla="*/ 3039462 h 7296153"/>
              <a:gd name="connsiteX3" fmla="*/ 6854244 w 6868508"/>
              <a:gd name="connsiteY3" fmla="*/ 7291993 h 7296153"/>
              <a:gd name="connsiteX4" fmla="*/ 0 w 6868508"/>
              <a:gd name="connsiteY4" fmla="*/ 7296153 h 7296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68508" h="7296153">
                <a:moveTo>
                  <a:pt x="0" y="7296153"/>
                </a:moveTo>
                <a:lnTo>
                  <a:pt x="4859595" y="0"/>
                </a:lnTo>
                <a:lnTo>
                  <a:pt x="6868508" y="3039462"/>
                </a:lnTo>
                <a:cubicBezTo>
                  <a:pt x="6863753" y="4456972"/>
                  <a:pt x="6858999" y="5874483"/>
                  <a:pt x="6854244" y="7291993"/>
                </a:cubicBezTo>
                <a:lnTo>
                  <a:pt x="0" y="7296153"/>
                </a:lnTo>
                <a:close/>
              </a:path>
            </a:pathLst>
          </a:cu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FE76A16A-E396-AC8E-95F8-435EDBA98283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2791943"/>
            <a:ext cx="6096000" cy="4066057"/>
          </a:xfrm>
          <a:prstGeom prst="rtTriangle">
            <a:avLst/>
          </a:prstGeom>
          <a:solidFill>
            <a:schemeClr val="accent2">
              <a:alpha val="63000"/>
            </a:schemeClr>
          </a:solidFill>
          <a:ln>
            <a:noFill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BBE831-EA75-405A-7173-FE0F44AED7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2144C55-B3BC-0F37-DEA3-D67B3141D3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84C5140-DD8E-9DBE-DEE5-5456B2B91C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296153" y="5265115"/>
            <a:ext cx="3371847" cy="593351"/>
          </a:xfrm>
        </p:spPr>
        <p:txBody>
          <a:bodyPr/>
          <a:lstStyle>
            <a:lvl1pPr algn="r">
              <a:defRPr sz="2800">
                <a:solidFill>
                  <a:srgbClr val="007483"/>
                </a:solidFill>
              </a:defRPr>
            </a:lvl1pPr>
          </a:lstStyle>
          <a:p>
            <a:fld id="{B0865E99-6545-4E21-A57D-E6D81FFED2BE}" type="datetime1">
              <a:rPr lang="en-US" smtClean="0"/>
              <a:pPr/>
              <a:t>5/21/2025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74767EBC-804B-0876-C859-E2712FA953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572002" cy="36039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0FFEFCF4-CC3D-3558-53D4-38D80D1A9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0576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 Elements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9126C-44FB-6E67-B297-1BE9C5736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833D87-AC32-7B9B-B44E-569FA4F2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FEFC9E96-3F33-4BD3-9839-AD4394FAFC6F}" type="datetime1">
              <a:rPr lang="en-US" smtClean="0"/>
              <a:pPr/>
              <a:t>5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DDBE3-2DB1-6163-861C-C57A37FBE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F48E36-B11D-4770-8396-6D4BA555E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373DE1B-2B66-696F-CC36-BDCE8FACB5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0000" y="2505886"/>
            <a:ext cx="10692000" cy="720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E2C0536-48D2-E954-D572-7EA333397B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0000" y="4064068"/>
            <a:ext cx="10692000" cy="720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65B4DBE-940E-CC07-16A8-D62ECEA314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0000" y="4843159"/>
            <a:ext cx="10692000" cy="720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99D7C9AE-4E3F-3A0F-6555-16A456E000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52269" y="1442224"/>
            <a:ext cx="10004425" cy="828675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D6EFBE4-C376-D664-B264-2ED639C187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50000" y="3284977"/>
            <a:ext cx="10692000" cy="720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6A25053-D6F3-82FF-8383-92BF906D061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50000" y="5622250"/>
            <a:ext cx="10692000" cy="720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75723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s to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9126C-44FB-6E67-B297-1BE9C5736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833D87-AC32-7B9B-B44E-569FA4F2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FEFC9E96-3F33-4BD3-9839-AD4394FAFC6F}" type="datetime1">
              <a:rPr lang="en-US" smtClean="0"/>
              <a:pPr/>
              <a:t>5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DDBE3-2DB1-6163-861C-C57A37FBE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F48E36-B11D-4770-8396-6D4BA555E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373DE1B-2B66-696F-CC36-BDCE8FACB5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41412" y="1453580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E2C0536-48D2-E954-D572-7EA333397B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2269" y="2320837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D051D63-7C31-F668-FA61-63385B2938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52269" y="3208717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65B4DBE-940E-CC07-16A8-D62ECEA314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41412" y="4075974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99D7C9AE-4E3F-3A0F-6555-16A456E000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04643" y="5333000"/>
            <a:ext cx="10004425" cy="828675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12845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points to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9126C-44FB-6E67-B297-1BE9C5736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833D87-AC32-7B9B-B44E-569FA4F2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FEFC9E96-3F33-4BD3-9839-AD4394FAFC6F}" type="datetime1">
              <a:rPr lang="en-US" smtClean="0"/>
              <a:pPr/>
              <a:t>5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DDBE3-2DB1-6163-861C-C57A37FBE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F48E36-B11D-4770-8396-6D4BA555E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373DE1B-2B66-696F-CC36-BDCE8FACB5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41412" y="1453580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E2C0536-48D2-E954-D572-7EA333397B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2269" y="2320837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D051D63-7C31-F668-FA61-63385B2938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52269" y="3208717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65B4DBE-940E-CC07-16A8-D62ECEA314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41412" y="4075974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3FCA18A-B8E1-DE40-B1ED-576AA14B0A15}"/>
              </a:ext>
            </a:extLst>
          </p:cNvPr>
          <p:cNvGrpSpPr/>
          <p:nvPr userDrawn="1"/>
        </p:nvGrpSpPr>
        <p:grpSpPr>
          <a:xfrm>
            <a:off x="2136000" y="4935611"/>
            <a:ext cx="7920000" cy="306171"/>
            <a:chOff x="2135999" y="4801676"/>
            <a:chExt cx="7920000" cy="306171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4DB251A4-132E-055F-8E15-FFF88590EC06}"/>
                </a:ext>
              </a:extLst>
            </p:cNvPr>
            <p:cNvCxnSpPr/>
            <p:nvPr/>
          </p:nvCxnSpPr>
          <p:spPr>
            <a:xfrm rot="5400000">
              <a:off x="6095999" y="994762"/>
              <a:ext cx="0" cy="7920000"/>
            </a:xfrm>
            <a:prstGeom prst="line">
              <a:avLst/>
            </a:prstGeom>
            <a:ln w="9525" cap="rnd">
              <a:solidFill>
                <a:srgbClr val="00748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462E464D-F0D2-D28C-B0A6-70DF7580645D}"/>
                </a:ext>
              </a:extLst>
            </p:cNvPr>
            <p:cNvGrpSpPr/>
            <p:nvPr/>
          </p:nvGrpSpPr>
          <p:grpSpPr>
            <a:xfrm rot="5400000">
              <a:off x="5942914" y="4801307"/>
              <a:ext cx="306171" cy="306910"/>
              <a:chOff x="5937564" y="3833745"/>
              <a:chExt cx="306171" cy="306910"/>
            </a:xfrm>
          </p:grpSpPr>
          <p:sp>
            <p:nvSpPr>
              <p:cNvPr id="28" name="Freeform 94">
                <a:extLst>
                  <a:ext uri="{FF2B5EF4-FFF2-40B4-BE49-F238E27FC236}">
                    <a16:creationId xmlns:a16="http://schemas.microsoft.com/office/drawing/2014/main" id="{882EE4EF-E919-2243-33E0-D0C6055E802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007483"/>
              </a:solidFill>
              <a:ln>
                <a:solidFill>
                  <a:srgbClr val="007483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29" name="Freeform 95">
                <a:extLst>
                  <a:ext uri="{FF2B5EF4-FFF2-40B4-BE49-F238E27FC236}">
                    <a16:creationId xmlns:a16="http://schemas.microsoft.com/office/drawing/2014/main" id="{81F1B7D4-A7D3-97F0-51F6-6B5AA1346A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99D7C9AE-4E3F-3A0F-6555-16A456E000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04643" y="5333000"/>
            <a:ext cx="10004425" cy="828675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38939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elements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lowchart: Sort 38">
            <a:extLst>
              <a:ext uri="{FF2B5EF4-FFF2-40B4-BE49-F238E27FC236}">
                <a16:creationId xmlns:a16="http://schemas.microsoft.com/office/drawing/2014/main" id="{3331C176-1F02-BA78-B321-C2A52DA3223C}"/>
              </a:ext>
            </a:extLst>
          </p:cNvPr>
          <p:cNvSpPr/>
          <p:nvPr userDrawn="1"/>
        </p:nvSpPr>
        <p:spPr>
          <a:xfrm>
            <a:off x="354209" y="4175076"/>
            <a:ext cx="1080000" cy="720000"/>
          </a:xfrm>
          <a:prstGeom prst="flowChartSort">
            <a:avLst/>
          </a:prstGeom>
          <a:solidFill>
            <a:srgbClr val="007483"/>
          </a:solidFill>
          <a:ln w="12700">
            <a:solidFill>
              <a:srgbClr val="0074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lowchart: Sort 40">
            <a:extLst>
              <a:ext uri="{FF2B5EF4-FFF2-40B4-BE49-F238E27FC236}">
                <a16:creationId xmlns:a16="http://schemas.microsoft.com/office/drawing/2014/main" id="{DC815A2C-1F64-727F-6005-15F446E1FCE4}"/>
              </a:ext>
            </a:extLst>
          </p:cNvPr>
          <p:cNvSpPr/>
          <p:nvPr userDrawn="1"/>
        </p:nvSpPr>
        <p:spPr>
          <a:xfrm>
            <a:off x="354209" y="5452044"/>
            <a:ext cx="1080000" cy="720000"/>
          </a:xfrm>
          <a:prstGeom prst="flowChartSort">
            <a:avLst/>
          </a:prstGeom>
          <a:solidFill>
            <a:srgbClr val="007483"/>
          </a:solidFill>
          <a:ln w="12700">
            <a:solidFill>
              <a:srgbClr val="0074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lowchart: Sort 22">
            <a:extLst>
              <a:ext uri="{FF2B5EF4-FFF2-40B4-BE49-F238E27FC236}">
                <a16:creationId xmlns:a16="http://schemas.microsoft.com/office/drawing/2014/main" id="{B3FF9168-E4B8-F7D0-82B4-B228AB3796B5}"/>
              </a:ext>
            </a:extLst>
          </p:cNvPr>
          <p:cNvSpPr/>
          <p:nvPr userDrawn="1"/>
        </p:nvSpPr>
        <p:spPr>
          <a:xfrm>
            <a:off x="354209" y="1600356"/>
            <a:ext cx="1080000" cy="720000"/>
          </a:xfrm>
          <a:prstGeom prst="flowChartSort">
            <a:avLst/>
          </a:prstGeom>
          <a:solidFill>
            <a:srgbClr val="007483"/>
          </a:solidFill>
          <a:ln w="12700">
            <a:solidFill>
              <a:srgbClr val="0074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lowchart: Sort 21">
            <a:extLst>
              <a:ext uri="{FF2B5EF4-FFF2-40B4-BE49-F238E27FC236}">
                <a16:creationId xmlns:a16="http://schemas.microsoft.com/office/drawing/2014/main" id="{EE87F1D2-12F9-14D9-C73A-39EBAF88868F}"/>
              </a:ext>
            </a:extLst>
          </p:cNvPr>
          <p:cNvSpPr/>
          <p:nvPr userDrawn="1"/>
        </p:nvSpPr>
        <p:spPr>
          <a:xfrm>
            <a:off x="354209" y="2881007"/>
            <a:ext cx="1080000" cy="720000"/>
          </a:xfrm>
          <a:prstGeom prst="flowChartSort">
            <a:avLst/>
          </a:prstGeom>
          <a:solidFill>
            <a:srgbClr val="007483"/>
          </a:solidFill>
          <a:ln w="12700">
            <a:solidFill>
              <a:srgbClr val="0074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89126C-44FB-6E67-B297-1BE9C5736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833D87-AC32-7B9B-B44E-569FA4F2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FEFC9E96-3F33-4BD3-9839-AD4394FAFC6F}" type="datetime1">
              <a:rPr lang="en-US" smtClean="0"/>
              <a:pPr/>
              <a:t>5/21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DDBE3-2DB1-6163-861C-C57A37FBE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F48E36-B11D-4770-8396-6D4BA555E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373DE1B-2B66-696F-CC36-BDCE8FACB5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41412" y="1453580"/>
            <a:ext cx="9909175" cy="1008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E2C0536-48D2-E954-D572-7EA333397B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2269" y="2738395"/>
            <a:ext cx="9909175" cy="1008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D051D63-7C31-F668-FA61-63385B2938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52269" y="4023210"/>
            <a:ext cx="9909175" cy="1008000"/>
          </a:xfrm>
          <a:noFill/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65B4DBE-940E-CC07-16A8-D62ECEA314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52269" y="5308026"/>
            <a:ext cx="9909175" cy="1008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49D8EB5-3484-5193-95C1-F19D611CD86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59134" y="1733130"/>
            <a:ext cx="450000" cy="450000"/>
          </a:xfrm>
          <a:prstGeom prst="rect">
            <a:avLst/>
          </a:prstGeom>
          <a:noFill/>
          <a:ln w="76200"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69887FE1-A391-4AEB-5E38-E0798214B16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9134" y="3017945"/>
            <a:ext cx="450000" cy="450000"/>
          </a:xfrm>
          <a:prstGeom prst="rect">
            <a:avLst/>
          </a:prstGeom>
          <a:noFill/>
          <a:ln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65E15745-1F4C-2387-E8EA-91A76B1442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59134" y="4302760"/>
            <a:ext cx="450000" cy="450000"/>
          </a:xfrm>
          <a:prstGeom prst="rect">
            <a:avLst/>
          </a:prstGeom>
          <a:noFill/>
          <a:ln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85A18982-4332-CAA4-EDC5-7FC68A83F5C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59134" y="5587576"/>
            <a:ext cx="450000" cy="450000"/>
          </a:xfrm>
          <a:prstGeom prst="rect">
            <a:avLst/>
          </a:prstGeom>
          <a:noFill/>
          <a:ln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4502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points to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9126C-44FB-6E67-B297-1BE9C5736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833D87-AC32-7B9B-B44E-569FA4F2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FEFC9E96-3F33-4BD3-9839-AD4394FAFC6F}" type="datetime1">
              <a:rPr lang="en-US" smtClean="0"/>
              <a:pPr/>
              <a:t>5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DDBE3-2DB1-6163-861C-C57A37FBE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F48E36-B11D-4770-8396-6D4BA555E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373DE1B-2B66-696F-CC36-BDCE8FACB5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41412" y="1453580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E2C0536-48D2-E954-D572-7EA333397B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2269" y="2320837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D051D63-7C31-F668-FA61-63385B2938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52269" y="3208717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65B4DBE-940E-CC07-16A8-D62ECEA314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41412" y="4075974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940DB96-F33D-22FE-747B-618ECE3CA78D}"/>
              </a:ext>
            </a:extLst>
          </p:cNvPr>
          <p:cNvGrpSpPr/>
          <p:nvPr userDrawn="1"/>
        </p:nvGrpSpPr>
        <p:grpSpPr>
          <a:xfrm>
            <a:off x="715366" y="1272460"/>
            <a:ext cx="522324" cy="814606"/>
            <a:chOff x="715366" y="1272460"/>
            <a:chExt cx="522324" cy="814606"/>
          </a:xfrm>
        </p:grpSpPr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70C0F23E-F9DE-6255-C548-C4DAC6BD227A}"/>
                </a:ext>
              </a:extLst>
            </p:cNvPr>
            <p:cNvSpPr/>
            <p:nvPr userDrawn="1"/>
          </p:nvSpPr>
          <p:spPr>
            <a:xfrm rot="16200000">
              <a:off x="710909" y="1560285"/>
              <a:ext cx="537092" cy="516470"/>
            </a:xfrm>
            <a:prstGeom prst="triangle">
              <a:avLst/>
            </a:prstGeom>
            <a:solidFill>
              <a:srgbClr val="007483"/>
            </a:solidFill>
            <a:ln>
              <a:solidFill>
                <a:srgbClr val="00748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Ins="86400" bIns="108000" rtlCol="0" anchor="ctr"/>
            <a:lstStyle/>
            <a:p>
              <a:pPr algn="ctr"/>
              <a:r>
                <a:rPr lang="fr-BE" sz="2400" dirty="0"/>
                <a:t>1</a:t>
              </a:r>
              <a:endParaRPr lang="en-US" sz="2400" dirty="0"/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7E210B55-6DD9-3BEE-0D63-BF5B05DF777B}"/>
                </a:ext>
              </a:extLst>
            </p:cNvPr>
            <p:cNvSpPr/>
            <p:nvPr userDrawn="1"/>
          </p:nvSpPr>
          <p:spPr>
            <a:xfrm rot="5400000">
              <a:off x="705055" y="1282771"/>
              <a:ext cx="537092" cy="516470"/>
            </a:xfrm>
            <a:prstGeom prst="triangle">
              <a:avLst/>
            </a:prstGeom>
            <a:solidFill>
              <a:schemeClr val="bg1"/>
            </a:solidFill>
            <a:ln>
              <a:solidFill>
                <a:srgbClr val="00748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Ins="86400" bIns="108000"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3FCA18A-B8E1-DE40-B1ED-576AA14B0A15}"/>
              </a:ext>
            </a:extLst>
          </p:cNvPr>
          <p:cNvGrpSpPr/>
          <p:nvPr userDrawn="1"/>
        </p:nvGrpSpPr>
        <p:grpSpPr>
          <a:xfrm>
            <a:off x="2136000" y="4935611"/>
            <a:ext cx="7920000" cy="306171"/>
            <a:chOff x="2135999" y="4801676"/>
            <a:chExt cx="7920000" cy="306171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4DB251A4-132E-055F-8E15-FFF88590EC06}"/>
                </a:ext>
              </a:extLst>
            </p:cNvPr>
            <p:cNvCxnSpPr/>
            <p:nvPr/>
          </p:nvCxnSpPr>
          <p:spPr>
            <a:xfrm rot="5400000">
              <a:off x="6095999" y="994762"/>
              <a:ext cx="0" cy="7920000"/>
            </a:xfrm>
            <a:prstGeom prst="line">
              <a:avLst/>
            </a:prstGeom>
            <a:ln w="9525" cap="rnd">
              <a:solidFill>
                <a:srgbClr val="00748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462E464D-F0D2-D28C-B0A6-70DF7580645D}"/>
                </a:ext>
              </a:extLst>
            </p:cNvPr>
            <p:cNvGrpSpPr/>
            <p:nvPr/>
          </p:nvGrpSpPr>
          <p:grpSpPr>
            <a:xfrm rot="5400000">
              <a:off x="5942914" y="4801307"/>
              <a:ext cx="306171" cy="306910"/>
              <a:chOff x="5937564" y="3833745"/>
              <a:chExt cx="306171" cy="306910"/>
            </a:xfrm>
          </p:grpSpPr>
          <p:sp>
            <p:nvSpPr>
              <p:cNvPr id="28" name="Freeform 94">
                <a:extLst>
                  <a:ext uri="{FF2B5EF4-FFF2-40B4-BE49-F238E27FC236}">
                    <a16:creationId xmlns:a16="http://schemas.microsoft.com/office/drawing/2014/main" id="{882EE4EF-E919-2243-33E0-D0C6055E802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007483"/>
              </a:solidFill>
              <a:ln>
                <a:solidFill>
                  <a:srgbClr val="007483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29" name="Freeform 95">
                <a:extLst>
                  <a:ext uri="{FF2B5EF4-FFF2-40B4-BE49-F238E27FC236}">
                    <a16:creationId xmlns:a16="http://schemas.microsoft.com/office/drawing/2014/main" id="{81F1B7D4-A7D3-97F0-51F6-6B5AA1346A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14DD7E7-64C9-5B18-02A3-A372F3EDC52F}"/>
              </a:ext>
            </a:extLst>
          </p:cNvPr>
          <p:cNvGrpSpPr/>
          <p:nvPr userDrawn="1"/>
        </p:nvGrpSpPr>
        <p:grpSpPr>
          <a:xfrm>
            <a:off x="715366" y="2145383"/>
            <a:ext cx="522324" cy="814606"/>
            <a:chOff x="715366" y="1272460"/>
            <a:chExt cx="522324" cy="814606"/>
          </a:xfrm>
        </p:grpSpPr>
        <p:sp>
          <p:nvSpPr>
            <p:cNvPr id="31" name="Isosceles Triangle 30">
              <a:extLst>
                <a:ext uri="{FF2B5EF4-FFF2-40B4-BE49-F238E27FC236}">
                  <a16:creationId xmlns:a16="http://schemas.microsoft.com/office/drawing/2014/main" id="{AC70CB6D-CFFE-99F1-B605-6DF0861FB594}"/>
                </a:ext>
              </a:extLst>
            </p:cNvPr>
            <p:cNvSpPr/>
            <p:nvPr userDrawn="1"/>
          </p:nvSpPr>
          <p:spPr>
            <a:xfrm rot="16200000">
              <a:off x="710909" y="1560285"/>
              <a:ext cx="537092" cy="516470"/>
            </a:xfrm>
            <a:prstGeom prst="triangle">
              <a:avLst/>
            </a:prstGeom>
            <a:solidFill>
              <a:srgbClr val="007483"/>
            </a:solidFill>
            <a:ln>
              <a:solidFill>
                <a:srgbClr val="00748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Ins="86400" bIns="108000" rtlCol="0" anchor="ctr"/>
            <a:lstStyle/>
            <a:p>
              <a:pPr algn="ctr"/>
              <a:r>
                <a:rPr lang="fr-BE" sz="2400" dirty="0"/>
                <a:t>2</a:t>
              </a:r>
              <a:endParaRPr lang="en-US" sz="2400" dirty="0"/>
            </a:p>
          </p:txBody>
        </p:sp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id="{FCAF8888-E716-0C37-1FA5-23B469186886}"/>
                </a:ext>
              </a:extLst>
            </p:cNvPr>
            <p:cNvSpPr/>
            <p:nvPr userDrawn="1"/>
          </p:nvSpPr>
          <p:spPr>
            <a:xfrm rot="5400000">
              <a:off x="705055" y="1282771"/>
              <a:ext cx="537092" cy="516470"/>
            </a:xfrm>
            <a:prstGeom prst="triangle">
              <a:avLst/>
            </a:prstGeom>
            <a:solidFill>
              <a:schemeClr val="bg1"/>
            </a:solidFill>
            <a:ln>
              <a:solidFill>
                <a:srgbClr val="00748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Ins="86400" bIns="108000"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9D1982D-5DA3-E561-DC5C-A3F79B087AD3}"/>
              </a:ext>
            </a:extLst>
          </p:cNvPr>
          <p:cNvGrpSpPr/>
          <p:nvPr userDrawn="1"/>
        </p:nvGrpSpPr>
        <p:grpSpPr>
          <a:xfrm>
            <a:off x="715366" y="3021697"/>
            <a:ext cx="522324" cy="814606"/>
            <a:chOff x="715366" y="1272460"/>
            <a:chExt cx="522324" cy="814606"/>
          </a:xfrm>
        </p:grpSpPr>
        <p:sp>
          <p:nvSpPr>
            <p:cNvPr id="34" name="Isosceles Triangle 33">
              <a:extLst>
                <a:ext uri="{FF2B5EF4-FFF2-40B4-BE49-F238E27FC236}">
                  <a16:creationId xmlns:a16="http://schemas.microsoft.com/office/drawing/2014/main" id="{A0DE5412-4858-CDD1-9DB8-D991C7818644}"/>
                </a:ext>
              </a:extLst>
            </p:cNvPr>
            <p:cNvSpPr/>
            <p:nvPr userDrawn="1"/>
          </p:nvSpPr>
          <p:spPr>
            <a:xfrm rot="16200000">
              <a:off x="710909" y="1560285"/>
              <a:ext cx="537092" cy="516470"/>
            </a:xfrm>
            <a:prstGeom prst="triangle">
              <a:avLst/>
            </a:prstGeom>
            <a:solidFill>
              <a:srgbClr val="007483"/>
            </a:solidFill>
            <a:ln>
              <a:solidFill>
                <a:srgbClr val="00748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Ins="86400" bIns="108000" rtlCol="0" anchor="ctr"/>
            <a:lstStyle/>
            <a:p>
              <a:pPr algn="ctr"/>
              <a:r>
                <a:rPr lang="fr-BE" sz="2400" dirty="0"/>
                <a:t>3</a:t>
              </a:r>
            </a:p>
          </p:txBody>
        </p:sp>
        <p:sp>
          <p:nvSpPr>
            <p:cNvPr id="35" name="Isosceles Triangle 34">
              <a:extLst>
                <a:ext uri="{FF2B5EF4-FFF2-40B4-BE49-F238E27FC236}">
                  <a16:creationId xmlns:a16="http://schemas.microsoft.com/office/drawing/2014/main" id="{3756101C-C244-AEDA-A44E-6174A629370F}"/>
                </a:ext>
              </a:extLst>
            </p:cNvPr>
            <p:cNvSpPr/>
            <p:nvPr userDrawn="1"/>
          </p:nvSpPr>
          <p:spPr>
            <a:xfrm rot="5400000">
              <a:off x="705055" y="1282771"/>
              <a:ext cx="537092" cy="516470"/>
            </a:xfrm>
            <a:prstGeom prst="triangle">
              <a:avLst/>
            </a:prstGeom>
            <a:solidFill>
              <a:schemeClr val="bg1"/>
            </a:solidFill>
            <a:ln>
              <a:solidFill>
                <a:srgbClr val="00748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Ins="86400" bIns="108000"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98A46C5-095D-1620-20BC-C31172047748}"/>
              </a:ext>
            </a:extLst>
          </p:cNvPr>
          <p:cNvGrpSpPr/>
          <p:nvPr userDrawn="1"/>
        </p:nvGrpSpPr>
        <p:grpSpPr>
          <a:xfrm>
            <a:off x="723730" y="3898011"/>
            <a:ext cx="522324" cy="814606"/>
            <a:chOff x="715366" y="1272460"/>
            <a:chExt cx="522324" cy="814606"/>
          </a:xfrm>
        </p:grpSpPr>
        <p:sp>
          <p:nvSpPr>
            <p:cNvPr id="37" name="Isosceles Triangle 36">
              <a:extLst>
                <a:ext uri="{FF2B5EF4-FFF2-40B4-BE49-F238E27FC236}">
                  <a16:creationId xmlns:a16="http://schemas.microsoft.com/office/drawing/2014/main" id="{30421C20-B745-BFC3-9CC4-33952F37640B}"/>
                </a:ext>
              </a:extLst>
            </p:cNvPr>
            <p:cNvSpPr/>
            <p:nvPr userDrawn="1"/>
          </p:nvSpPr>
          <p:spPr>
            <a:xfrm rot="16200000">
              <a:off x="710909" y="1560285"/>
              <a:ext cx="537092" cy="516470"/>
            </a:xfrm>
            <a:prstGeom prst="triangle">
              <a:avLst/>
            </a:prstGeom>
            <a:solidFill>
              <a:srgbClr val="007483"/>
            </a:solidFill>
            <a:ln>
              <a:solidFill>
                <a:srgbClr val="00748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Ins="86400" bIns="108000" rtlCol="0" anchor="ctr"/>
            <a:lstStyle/>
            <a:p>
              <a:pPr algn="ctr"/>
              <a:r>
                <a:rPr lang="fr-BE" sz="2400" dirty="0"/>
                <a:t>4</a:t>
              </a:r>
              <a:endParaRPr lang="en-US" sz="2400" dirty="0"/>
            </a:p>
          </p:txBody>
        </p:sp>
        <p:sp>
          <p:nvSpPr>
            <p:cNvPr id="38" name="Isosceles Triangle 37">
              <a:extLst>
                <a:ext uri="{FF2B5EF4-FFF2-40B4-BE49-F238E27FC236}">
                  <a16:creationId xmlns:a16="http://schemas.microsoft.com/office/drawing/2014/main" id="{408DF359-B6CC-A914-0A8B-3400DCE5DDDA}"/>
                </a:ext>
              </a:extLst>
            </p:cNvPr>
            <p:cNvSpPr/>
            <p:nvPr userDrawn="1"/>
          </p:nvSpPr>
          <p:spPr>
            <a:xfrm rot="5400000">
              <a:off x="705055" y="1282771"/>
              <a:ext cx="537092" cy="516470"/>
            </a:xfrm>
            <a:prstGeom prst="triangle">
              <a:avLst/>
            </a:prstGeom>
            <a:solidFill>
              <a:schemeClr val="bg1"/>
            </a:solidFill>
            <a:ln>
              <a:solidFill>
                <a:srgbClr val="00748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Ins="86400" bIns="108000" rtlCol="0" anchor="ctr"/>
            <a:lstStyle/>
            <a:p>
              <a:pPr algn="ctr"/>
              <a:endParaRPr lang="en-US" sz="2400" dirty="0"/>
            </a:p>
          </p:txBody>
        </p:sp>
      </p:grp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99D7C9AE-4E3F-3A0F-6555-16A456E000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04643" y="5333000"/>
            <a:ext cx="10004425" cy="828675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66820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94023406-DE05-FC34-6277-CBC34009DE88}"/>
              </a:ext>
            </a:extLst>
          </p:cNvPr>
          <p:cNvCxnSpPr>
            <a:cxnSpLocks/>
          </p:cNvCxnSpPr>
          <p:nvPr userDrawn="1"/>
        </p:nvCxnSpPr>
        <p:spPr>
          <a:xfrm>
            <a:off x="2680369" y="0"/>
            <a:ext cx="1998114" cy="3400674"/>
          </a:xfrm>
          <a:prstGeom prst="line">
            <a:avLst/>
          </a:prstGeom>
          <a:ln w="19050">
            <a:solidFill>
              <a:srgbClr val="0074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C8AA3385-A787-6273-154E-B63BEFCB9ABC}"/>
              </a:ext>
            </a:extLst>
          </p:cNvPr>
          <p:cNvCxnSpPr>
            <a:cxnSpLocks/>
          </p:cNvCxnSpPr>
          <p:nvPr userDrawn="1"/>
        </p:nvCxnSpPr>
        <p:spPr>
          <a:xfrm flipV="1">
            <a:off x="2680369" y="3439694"/>
            <a:ext cx="1998114" cy="3418306"/>
          </a:xfrm>
          <a:prstGeom prst="line">
            <a:avLst/>
          </a:prstGeom>
          <a:ln w="19050">
            <a:solidFill>
              <a:srgbClr val="0074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B93144B4-5C09-FA20-699E-39C3FD2859EF}"/>
              </a:ext>
            </a:extLst>
          </p:cNvPr>
          <p:cNvSpPr/>
          <p:nvPr userDrawn="1"/>
        </p:nvSpPr>
        <p:spPr>
          <a:xfrm>
            <a:off x="-272" y="0"/>
            <a:ext cx="3902918" cy="6858000"/>
          </a:xfrm>
          <a:prstGeom prst="homePlate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62048E-A381-676B-CA03-C792FD07C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AA889D9-B7BB-4147-B7F0-FB44889D7F26}" type="datetime1">
              <a:rPr lang="en-US" smtClean="0"/>
              <a:pPr/>
              <a:t>5/21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FE89BC-C6C6-1F2A-2CBC-A1E4BD95C9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DBEBDA-0796-92E6-00C2-F6FFC0D79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Submission platform, Montefiore ULiege">
            <a:extLst>
              <a:ext uri="{FF2B5EF4-FFF2-40B4-BE49-F238E27FC236}">
                <a16:creationId xmlns:a16="http://schemas.microsoft.com/office/drawing/2014/main" id="{B45C3D52-9C53-4AFD-B9E5-E609AF97A78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193"/>
          <a:stretch/>
        </p:blipFill>
        <p:spPr bwMode="auto">
          <a:xfrm>
            <a:off x="11328340" y="0"/>
            <a:ext cx="718350" cy="829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CB73212A-3ACA-5CFB-D30A-0C299750B5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5020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4" name="Object 13">
                        <a:extLst>
                          <a:ext uri="{FF2B5EF4-FFF2-40B4-BE49-F238E27FC236}">
                            <a16:creationId xmlns:a16="http://schemas.microsoft.com/office/drawing/2014/main" id="{CB73212A-3ACA-5CFB-D30A-0C299750B52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Oval 15">
            <a:extLst>
              <a:ext uri="{FF2B5EF4-FFF2-40B4-BE49-F238E27FC236}">
                <a16:creationId xmlns:a16="http://schemas.microsoft.com/office/drawing/2014/main" id="{D0C22B0F-A573-D175-34F9-A0433A85EEBD}"/>
              </a:ext>
            </a:extLst>
          </p:cNvPr>
          <p:cNvSpPr/>
          <p:nvPr userDrawn="1"/>
        </p:nvSpPr>
        <p:spPr>
          <a:xfrm rot="1280672">
            <a:off x="3500377" y="1747454"/>
            <a:ext cx="963142" cy="963142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00748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796DB29E-005C-93EB-BDC2-05BACF62A562}"/>
              </a:ext>
            </a:extLst>
          </p:cNvPr>
          <p:cNvSpPr/>
          <p:nvPr userDrawn="1"/>
        </p:nvSpPr>
        <p:spPr>
          <a:xfrm rot="10004228">
            <a:off x="3487678" y="1734755"/>
            <a:ext cx="988540" cy="988540"/>
          </a:xfrm>
          <a:prstGeom prst="arc">
            <a:avLst/>
          </a:prstGeom>
          <a:ln w="19050" cap="flat" cmpd="sng" algn="ctr">
            <a:solidFill>
              <a:srgbClr val="007483"/>
            </a:solidFill>
            <a:prstDash val="solid"/>
            <a:miter lim="800000"/>
            <a:headEnd type="none" w="med" len="med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1D2AB1F3-ED20-3F08-52E0-D94E326474C8}"/>
              </a:ext>
            </a:extLst>
          </p:cNvPr>
          <p:cNvSpPr/>
          <p:nvPr userDrawn="1"/>
        </p:nvSpPr>
        <p:spPr>
          <a:xfrm rot="20576651">
            <a:off x="3487678" y="1734755"/>
            <a:ext cx="988540" cy="988540"/>
          </a:xfrm>
          <a:prstGeom prst="arc">
            <a:avLst/>
          </a:prstGeom>
          <a:ln w="19050" cap="flat" cmpd="sng" algn="ctr">
            <a:solidFill>
              <a:srgbClr val="007483"/>
            </a:solidFill>
            <a:prstDash val="solid"/>
            <a:miter lim="800000"/>
            <a:headEnd type="none" w="med" len="med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ECE7419-74E5-6240-FE8B-25EDEEE18953}"/>
              </a:ext>
            </a:extLst>
          </p:cNvPr>
          <p:cNvSpPr/>
          <p:nvPr userDrawn="1"/>
        </p:nvSpPr>
        <p:spPr>
          <a:xfrm>
            <a:off x="2977262" y="525780"/>
            <a:ext cx="963142" cy="963142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00748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0" name="Arc 19">
            <a:extLst>
              <a:ext uri="{FF2B5EF4-FFF2-40B4-BE49-F238E27FC236}">
                <a16:creationId xmlns:a16="http://schemas.microsoft.com/office/drawing/2014/main" id="{3D5AD699-1BF9-33E5-B76C-8B6E7E69EB5B}"/>
              </a:ext>
            </a:extLst>
          </p:cNvPr>
          <p:cNvSpPr/>
          <p:nvPr userDrawn="1"/>
        </p:nvSpPr>
        <p:spPr>
          <a:xfrm rot="9123498">
            <a:off x="2964563" y="513081"/>
            <a:ext cx="988540" cy="988540"/>
          </a:xfrm>
          <a:prstGeom prst="arc">
            <a:avLst/>
          </a:prstGeom>
          <a:ln w="19050" cap="flat" cmpd="sng" algn="ctr">
            <a:solidFill>
              <a:srgbClr val="007483"/>
            </a:solidFill>
            <a:prstDash val="solid"/>
            <a:miter lim="800000"/>
            <a:headEnd type="none" w="med" len="med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1" name="Arc 20">
            <a:extLst>
              <a:ext uri="{FF2B5EF4-FFF2-40B4-BE49-F238E27FC236}">
                <a16:creationId xmlns:a16="http://schemas.microsoft.com/office/drawing/2014/main" id="{A0976A5E-380E-8DC0-EB41-7A7CFB46B88D}"/>
              </a:ext>
            </a:extLst>
          </p:cNvPr>
          <p:cNvSpPr/>
          <p:nvPr userDrawn="1"/>
        </p:nvSpPr>
        <p:spPr>
          <a:xfrm rot="19295979">
            <a:off x="2964563" y="513081"/>
            <a:ext cx="988540" cy="988540"/>
          </a:xfrm>
          <a:prstGeom prst="arc">
            <a:avLst/>
          </a:prstGeom>
          <a:ln w="19050" cap="flat" cmpd="sng" algn="ctr">
            <a:solidFill>
              <a:srgbClr val="007483"/>
            </a:solidFill>
            <a:prstDash val="solid"/>
            <a:miter lim="800000"/>
            <a:headEnd type="none" w="med" len="med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BDEBBDD-3367-8378-7A82-A8FEE9B2EEE4}"/>
              </a:ext>
            </a:extLst>
          </p:cNvPr>
          <p:cNvSpPr>
            <a:spLocks noChangeAspect="1"/>
          </p:cNvSpPr>
          <p:nvPr userDrawn="1"/>
        </p:nvSpPr>
        <p:spPr>
          <a:xfrm>
            <a:off x="3564449" y="1811525"/>
            <a:ext cx="834999" cy="834999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00748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200" kern="0" dirty="0">
              <a:solidFill>
                <a:srgbClr val="808080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71B6A78-2356-003E-A383-37685AA8E489}"/>
              </a:ext>
            </a:extLst>
          </p:cNvPr>
          <p:cNvGrpSpPr/>
          <p:nvPr userDrawn="1"/>
        </p:nvGrpSpPr>
        <p:grpSpPr>
          <a:xfrm rot="2126765">
            <a:off x="4184214" y="2956430"/>
            <a:ext cx="988540" cy="988540"/>
            <a:chOff x="3167957" y="619761"/>
            <a:chExt cx="988540" cy="98854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5805741-40AC-968D-1208-62B533D1C2BD}"/>
                </a:ext>
              </a:extLst>
            </p:cNvPr>
            <p:cNvSpPr/>
            <p:nvPr/>
          </p:nvSpPr>
          <p:spPr>
            <a:xfrm>
              <a:off x="3180656" y="632460"/>
              <a:ext cx="963142" cy="963142"/>
            </a:xfrm>
            <a:prstGeom prst="ellipse">
              <a:avLst/>
            </a:prstGeom>
            <a:solidFill>
              <a:srgbClr val="F2F2F2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6" name="Arc 25">
              <a:extLst>
                <a:ext uri="{FF2B5EF4-FFF2-40B4-BE49-F238E27FC236}">
                  <a16:creationId xmlns:a16="http://schemas.microsoft.com/office/drawing/2014/main" id="{51AAD38A-9856-278C-06F6-AF49C770D807}"/>
                </a:ext>
              </a:extLst>
            </p:cNvPr>
            <p:cNvSpPr/>
            <p:nvPr/>
          </p:nvSpPr>
          <p:spPr>
            <a:xfrm rot="8984606">
              <a:off x="3167957" y="619761"/>
              <a:ext cx="988540" cy="988540"/>
            </a:xfrm>
            <a:prstGeom prst="arc">
              <a:avLst/>
            </a:prstGeom>
            <a:ln w="19050" cap="flat" cmpd="sng" algn="ctr">
              <a:solidFill>
                <a:srgbClr val="007483"/>
              </a:solidFill>
              <a:prstDash val="solid"/>
              <a:miter lim="800000"/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808080"/>
                </a:solidFill>
              </a:endParaRPr>
            </a:p>
          </p:txBody>
        </p:sp>
        <p:sp>
          <p:nvSpPr>
            <p:cNvPr id="27" name="Arc 26">
              <a:extLst>
                <a:ext uri="{FF2B5EF4-FFF2-40B4-BE49-F238E27FC236}">
                  <a16:creationId xmlns:a16="http://schemas.microsoft.com/office/drawing/2014/main" id="{CE5E93A2-9D40-27D1-381B-6CB5BD0D8683}"/>
                </a:ext>
              </a:extLst>
            </p:cNvPr>
            <p:cNvSpPr/>
            <p:nvPr/>
          </p:nvSpPr>
          <p:spPr>
            <a:xfrm rot="19295979">
              <a:off x="3167957" y="619761"/>
              <a:ext cx="988540" cy="988540"/>
            </a:xfrm>
            <a:prstGeom prst="arc">
              <a:avLst/>
            </a:prstGeom>
            <a:ln w="19050" cap="flat" cmpd="sng" algn="ctr">
              <a:solidFill>
                <a:srgbClr val="007483"/>
              </a:solidFill>
              <a:prstDash val="solid"/>
              <a:miter lim="800000"/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808080"/>
                </a:solidFill>
              </a:endParaRPr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CFBE27FC-351D-5D95-7F1A-3B06E9899E6C}"/>
              </a:ext>
            </a:extLst>
          </p:cNvPr>
          <p:cNvSpPr>
            <a:spLocks noChangeAspect="1"/>
          </p:cNvSpPr>
          <p:nvPr userDrawn="1"/>
        </p:nvSpPr>
        <p:spPr>
          <a:xfrm>
            <a:off x="4260984" y="3033200"/>
            <a:ext cx="834999" cy="834999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00748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200" kern="0" dirty="0">
              <a:solidFill>
                <a:srgbClr val="808080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0788612-D5C0-6A08-CAF2-6E1A7C8DE5B1}"/>
              </a:ext>
            </a:extLst>
          </p:cNvPr>
          <p:cNvGrpSpPr/>
          <p:nvPr userDrawn="1"/>
        </p:nvGrpSpPr>
        <p:grpSpPr>
          <a:xfrm rot="3253400">
            <a:off x="3413241" y="4133389"/>
            <a:ext cx="988540" cy="988540"/>
            <a:chOff x="3167957" y="619761"/>
            <a:chExt cx="988540" cy="98854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9843A94-A429-4E1F-0D95-F6E1588F2A5B}"/>
                </a:ext>
              </a:extLst>
            </p:cNvPr>
            <p:cNvSpPr/>
            <p:nvPr/>
          </p:nvSpPr>
          <p:spPr>
            <a:xfrm>
              <a:off x="3180656" y="632460"/>
              <a:ext cx="963142" cy="963142"/>
            </a:xfrm>
            <a:prstGeom prst="ellipse">
              <a:avLst/>
            </a:prstGeom>
            <a:solidFill>
              <a:srgbClr val="F2F2F2"/>
            </a:solidFill>
            <a:ln w="9525" cap="rnd" cmpd="sng" algn="ctr">
              <a:solidFill>
                <a:srgbClr val="00748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0679F449-B3B8-107A-81AF-DD101E3E443F}"/>
                </a:ext>
              </a:extLst>
            </p:cNvPr>
            <p:cNvSpPr/>
            <p:nvPr/>
          </p:nvSpPr>
          <p:spPr>
            <a:xfrm rot="8753631">
              <a:off x="3167957" y="619761"/>
              <a:ext cx="988540" cy="988540"/>
            </a:xfrm>
            <a:prstGeom prst="arc">
              <a:avLst/>
            </a:prstGeom>
            <a:ln w="19050" cap="flat" cmpd="sng" algn="ctr">
              <a:solidFill>
                <a:srgbClr val="007483"/>
              </a:solidFill>
              <a:prstDash val="solid"/>
              <a:miter lim="800000"/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808080"/>
                </a:solidFill>
              </a:endParaRPr>
            </a:p>
          </p:txBody>
        </p:sp>
        <p:sp>
          <p:nvSpPr>
            <p:cNvPr id="32" name="Arc 31">
              <a:extLst>
                <a:ext uri="{FF2B5EF4-FFF2-40B4-BE49-F238E27FC236}">
                  <a16:creationId xmlns:a16="http://schemas.microsoft.com/office/drawing/2014/main" id="{D4CB771D-45CC-B855-03A4-E7C2EE9E9197}"/>
                </a:ext>
              </a:extLst>
            </p:cNvPr>
            <p:cNvSpPr/>
            <p:nvPr/>
          </p:nvSpPr>
          <p:spPr>
            <a:xfrm rot="19295979">
              <a:off x="3167957" y="619761"/>
              <a:ext cx="988540" cy="988540"/>
            </a:xfrm>
            <a:prstGeom prst="arc">
              <a:avLst>
                <a:gd name="adj1" fmla="val 16200000"/>
                <a:gd name="adj2" fmla="val 19738651"/>
              </a:avLst>
            </a:prstGeom>
            <a:ln w="19050" cap="flat" cmpd="sng" algn="ctr">
              <a:solidFill>
                <a:srgbClr val="007483"/>
              </a:solidFill>
              <a:prstDash val="solid"/>
              <a:miter lim="800000"/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808080"/>
                </a:solidFill>
              </a:endParaRPr>
            </a:p>
          </p:txBody>
        </p:sp>
      </p:grpSp>
      <p:sp>
        <p:nvSpPr>
          <p:cNvPr id="33" name="Oval 32">
            <a:extLst>
              <a:ext uri="{FF2B5EF4-FFF2-40B4-BE49-F238E27FC236}">
                <a16:creationId xmlns:a16="http://schemas.microsoft.com/office/drawing/2014/main" id="{BF7CA4D0-45E4-FA40-2B4D-434BF33FD42B}"/>
              </a:ext>
            </a:extLst>
          </p:cNvPr>
          <p:cNvSpPr>
            <a:spLocks noChangeAspect="1"/>
          </p:cNvSpPr>
          <p:nvPr userDrawn="1"/>
        </p:nvSpPr>
        <p:spPr>
          <a:xfrm>
            <a:off x="3490012" y="4210160"/>
            <a:ext cx="834999" cy="834999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00748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200" kern="0" dirty="0">
              <a:solidFill>
                <a:srgbClr val="808080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F41F3F2-C79B-7D67-9C72-51DECE83759F}"/>
              </a:ext>
            </a:extLst>
          </p:cNvPr>
          <p:cNvGrpSpPr/>
          <p:nvPr userDrawn="1"/>
        </p:nvGrpSpPr>
        <p:grpSpPr>
          <a:xfrm rot="3988516">
            <a:off x="2854826" y="5310350"/>
            <a:ext cx="988540" cy="988540"/>
            <a:chOff x="3167957" y="619761"/>
            <a:chExt cx="988540" cy="98854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C9BA51EA-053F-1B65-C2B6-7077984A2DE7}"/>
                </a:ext>
              </a:extLst>
            </p:cNvPr>
            <p:cNvSpPr/>
            <p:nvPr/>
          </p:nvSpPr>
          <p:spPr>
            <a:xfrm>
              <a:off x="3180656" y="632460"/>
              <a:ext cx="963142" cy="963142"/>
            </a:xfrm>
            <a:prstGeom prst="ellipse">
              <a:avLst/>
            </a:prstGeom>
            <a:solidFill>
              <a:srgbClr val="F2F2F2"/>
            </a:solidFill>
            <a:ln w="9525" cap="rnd" cmpd="sng" algn="ctr">
              <a:solidFill>
                <a:srgbClr val="00748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36" name="Arc 35">
              <a:extLst>
                <a:ext uri="{FF2B5EF4-FFF2-40B4-BE49-F238E27FC236}">
                  <a16:creationId xmlns:a16="http://schemas.microsoft.com/office/drawing/2014/main" id="{E4628A3B-223F-3A7F-4195-6F45E0656371}"/>
                </a:ext>
              </a:extLst>
            </p:cNvPr>
            <p:cNvSpPr/>
            <p:nvPr/>
          </p:nvSpPr>
          <p:spPr>
            <a:xfrm rot="9381697">
              <a:off x="3167957" y="619761"/>
              <a:ext cx="988540" cy="988540"/>
            </a:xfrm>
            <a:prstGeom prst="arc">
              <a:avLst/>
            </a:prstGeom>
            <a:ln w="19050" cap="flat" cmpd="sng" algn="ctr">
              <a:solidFill>
                <a:srgbClr val="007483"/>
              </a:solidFill>
              <a:prstDash val="solid"/>
              <a:miter lim="800000"/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808080"/>
                </a:solidFill>
              </a:endParaRPr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DC7AA009-1F31-53E0-6B0A-0BF12F85AFAE}"/>
                </a:ext>
              </a:extLst>
            </p:cNvPr>
            <p:cNvSpPr/>
            <p:nvPr/>
          </p:nvSpPr>
          <p:spPr>
            <a:xfrm rot="19295979">
              <a:off x="3167957" y="619761"/>
              <a:ext cx="988540" cy="988540"/>
            </a:xfrm>
            <a:prstGeom prst="arc">
              <a:avLst>
                <a:gd name="adj1" fmla="val 16200000"/>
                <a:gd name="adj2" fmla="val 19077490"/>
              </a:avLst>
            </a:prstGeom>
            <a:ln w="19050" cap="flat" cmpd="sng" algn="ctr">
              <a:solidFill>
                <a:srgbClr val="007483"/>
              </a:solidFill>
              <a:prstDash val="solid"/>
              <a:miter lim="800000"/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808080"/>
                </a:solidFill>
              </a:endParaRPr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720E5E58-8EC7-ED08-0E27-CF340B901A42}"/>
              </a:ext>
            </a:extLst>
          </p:cNvPr>
          <p:cNvSpPr>
            <a:spLocks noChangeAspect="1"/>
          </p:cNvSpPr>
          <p:nvPr userDrawn="1"/>
        </p:nvSpPr>
        <p:spPr>
          <a:xfrm>
            <a:off x="2931595" y="5387120"/>
            <a:ext cx="834999" cy="834999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00748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200" kern="0" dirty="0">
              <a:solidFill>
                <a:srgbClr val="808080"/>
              </a:solidFill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4A145F92-76BA-627E-DECD-E067EAF0B730}"/>
              </a:ext>
            </a:extLst>
          </p:cNvPr>
          <p:cNvSpPr>
            <a:spLocks noChangeAspect="1"/>
          </p:cNvSpPr>
          <p:nvPr userDrawn="1"/>
        </p:nvSpPr>
        <p:spPr>
          <a:xfrm>
            <a:off x="3041333" y="589851"/>
            <a:ext cx="834999" cy="834999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00748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200" kern="0" dirty="0">
              <a:solidFill>
                <a:srgbClr val="808080"/>
              </a:solidFill>
            </a:endParaRP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F8D3AE0E-A427-0AD5-31BE-FC3053FD1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91156" y="550150"/>
            <a:ext cx="7137184" cy="914400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9" name="Text Placeholder 77">
            <a:extLst>
              <a:ext uri="{FF2B5EF4-FFF2-40B4-BE49-F238E27FC236}">
                <a16:creationId xmlns:a16="http://schemas.microsoft.com/office/drawing/2014/main" id="{A57670E8-1C4F-AAC3-FDCC-435499BCF3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78483" y="1777481"/>
            <a:ext cx="6649857" cy="914400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0" name="Text Placeholder 77">
            <a:extLst>
              <a:ext uri="{FF2B5EF4-FFF2-40B4-BE49-F238E27FC236}">
                <a16:creationId xmlns:a16="http://schemas.microsoft.com/office/drawing/2014/main" id="{E6CF18B1-0DB8-3326-C929-43E245D22C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50083" y="2953799"/>
            <a:ext cx="5978257" cy="914400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1" name="Text Placeholder 77">
            <a:extLst>
              <a:ext uri="{FF2B5EF4-FFF2-40B4-BE49-F238E27FC236}">
                <a16:creationId xmlns:a16="http://schemas.microsoft.com/office/drawing/2014/main" id="{3342FF4F-DF02-56EA-4949-C2D845DBB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78483" y="4170459"/>
            <a:ext cx="6649857" cy="914400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2" name="Text Placeholder 77">
            <a:extLst>
              <a:ext uri="{FF2B5EF4-FFF2-40B4-BE49-F238E27FC236}">
                <a16:creationId xmlns:a16="http://schemas.microsoft.com/office/drawing/2014/main" id="{A2624DF5-2A04-95C9-49C6-DE4234D17E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91156" y="5336261"/>
            <a:ext cx="7137184" cy="914400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3" name="Picture Placeholder 6">
            <a:extLst>
              <a:ext uri="{FF2B5EF4-FFF2-40B4-BE49-F238E27FC236}">
                <a16:creationId xmlns:a16="http://schemas.microsoft.com/office/drawing/2014/main" id="{E7AB35EE-C552-FA01-A234-09BD5CEA496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098833" y="647350"/>
            <a:ext cx="720000" cy="720000"/>
          </a:xfrm>
          <a:prstGeom prst="rect">
            <a:avLst/>
          </a:prstGeom>
          <a:noFill/>
          <a:ln w="76200"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84" name="Picture Placeholder 6">
            <a:extLst>
              <a:ext uri="{FF2B5EF4-FFF2-40B4-BE49-F238E27FC236}">
                <a16:creationId xmlns:a16="http://schemas.microsoft.com/office/drawing/2014/main" id="{AD8DED06-6441-AB71-A336-A84EF47E3D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21949" y="1869024"/>
            <a:ext cx="720000" cy="720000"/>
          </a:xfrm>
          <a:prstGeom prst="rect">
            <a:avLst/>
          </a:prstGeom>
          <a:noFill/>
          <a:ln w="76200"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85" name="Picture Placeholder 6">
            <a:extLst>
              <a:ext uri="{FF2B5EF4-FFF2-40B4-BE49-F238E27FC236}">
                <a16:creationId xmlns:a16="http://schemas.microsoft.com/office/drawing/2014/main" id="{4FE68A83-82D9-0249-2E68-7FFD4BA718A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547512" y="4267660"/>
            <a:ext cx="720000" cy="720000"/>
          </a:xfrm>
          <a:prstGeom prst="rect">
            <a:avLst/>
          </a:prstGeom>
          <a:noFill/>
          <a:ln w="76200"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86" name="Picture Placeholder 6">
            <a:extLst>
              <a:ext uri="{FF2B5EF4-FFF2-40B4-BE49-F238E27FC236}">
                <a16:creationId xmlns:a16="http://schemas.microsoft.com/office/drawing/2014/main" id="{8013BB4C-7D50-C9D8-D928-CE13DCD2ED1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18484" y="3090700"/>
            <a:ext cx="720000" cy="720000"/>
          </a:xfrm>
          <a:prstGeom prst="rect">
            <a:avLst/>
          </a:prstGeom>
          <a:noFill/>
          <a:ln w="76200"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87" name="Picture Placeholder 6">
            <a:extLst>
              <a:ext uri="{FF2B5EF4-FFF2-40B4-BE49-F238E27FC236}">
                <a16:creationId xmlns:a16="http://schemas.microsoft.com/office/drawing/2014/main" id="{F1B1B843-3F44-27D6-7F6B-3B2038CF3A3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989095" y="5444620"/>
            <a:ext cx="720000" cy="720000"/>
          </a:xfrm>
          <a:prstGeom prst="rect">
            <a:avLst/>
          </a:prstGeom>
          <a:noFill/>
          <a:ln w="76200"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6045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-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9126C-44FB-6E67-B297-1BE9C5736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2299376-A175-72DC-380E-EC941F0D1A2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20682" y="1646326"/>
            <a:ext cx="7151649" cy="4282068"/>
          </a:xfrm>
        </p:spPr>
        <p:txBody>
          <a:bodyPr/>
          <a:lstStyle/>
          <a:p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C76CAF1-E88D-679E-F7A6-238FF92C98D1}"/>
              </a:ext>
            </a:extLst>
          </p:cNvPr>
          <p:cNvGrpSpPr/>
          <p:nvPr userDrawn="1"/>
        </p:nvGrpSpPr>
        <p:grpSpPr>
          <a:xfrm rot="16200000">
            <a:off x="2222051" y="3557733"/>
            <a:ext cx="4387672" cy="459256"/>
            <a:chOff x="3902165" y="4725136"/>
            <a:chExt cx="4387672" cy="459256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28A6405-AFE5-E012-CE22-C27B9082794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6096000" y="2760926"/>
              <a:ext cx="1" cy="4387672"/>
            </a:xfrm>
            <a:prstGeom prst="line">
              <a:avLst/>
            </a:prstGeom>
            <a:ln w="9525" cap="rnd">
              <a:solidFill>
                <a:srgbClr val="00748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47A0F1EA-2111-32F2-28BE-FDAF5F75A0AF}"/>
                </a:ext>
              </a:extLst>
            </p:cNvPr>
            <p:cNvGrpSpPr/>
            <p:nvPr/>
          </p:nvGrpSpPr>
          <p:grpSpPr>
            <a:xfrm rot="5400000">
              <a:off x="5866374" y="4724581"/>
              <a:ext cx="459256" cy="460365"/>
              <a:chOff x="5861020" y="3757018"/>
              <a:chExt cx="459256" cy="460365"/>
            </a:xfrm>
          </p:grpSpPr>
          <p:sp>
            <p:nvSpPr>
              <p:cNvPr id="11" name="Freeform 94">
                <a:extLst>
                  <a:ext uri="{FF2B5EF4-FFF2-40B4-BE49-F238E27FC236}">
                    <a16:creationId xmlns:a16="http://schemas.microsoft.com/office/drawing/2014/main" id="{26E5287B-1BC7-2850-3156-EE8F610B3D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61020" y="3757018"/>
                <a:ext cx="459256" cy="460365"/>
              </a:xfrm>
              <a:prstGeom prst="flowChartDecision">
                <a:avLst/>
              </a:prstGeom>
              <a:solidFill>
                <a:srgbClr val="007483"/>
              </a:solidFill>
              <a:ln w="14288">
                <a:solidFill>
                  <a:srgbClr val="007483"/>
                </a:solidFill>
              </a:ln>
            </p:spPr>
            <p:txBody>
              <a:bodyPr vert="horz" wrap="square" lIns="132961" tIns="66481" rIns="132961" bIns="6648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12" name="Freeform 95">
                <a:extLst>
                  <a:ext uri="{FF2B5EF4-FFF2-40B4-BE49-F238E27FC236}">
                    <a16:creationId xmlns:a16="http://schemas.microsoft.com/office/drawing/2014/main" id="{78782A8F-8AF7-F81B-3BA9-224A6F3190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80396" y="3874834"/>
                <a:ext cx="217741" cy="224731"/>
              </a:xfrm>
              <a:prstGeom prst="rightArrow">
                <a:avLst>
                  <a:gd name="adj1" fmla="val 35165"/>
                  <a:gd name="adj2" fmla="val 47093"/>
                </a:avLst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6EBDEE4-0129-4AB4-1CC2-911591C962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9406" y="1645823"/>
            <a:ext cx="3760304" cy="43354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5E4ADC84-6CBC-E4FE-89A7-A59C3B13BC0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5166E07-78DE-413E-81B3-7A4851EA5568}" type="datetime1">
              <a:rPr lang="en-US" smtClean="0"/>
              <a:pPr/>
              <a:t>5/21/2025</a:t>
            </a:fld>
            <a:endParaRPr lang="en-US" dirty="0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F2221064-4D9F-DDCA-0DF0-E43EFC092A0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9EB140CF-9824-39BB-FA6C-4B3746AA61C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43318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9126C-44FB-6E67-B297-1BE9C5736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833D87-AC32-7B9B-B44E-569FA4F2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7483"/>
                </a:solidFill>
              </a:defRPr>
            </a:lvl1pPr>
          </a:lstStyle>
          <a:p>
            <a:fld id="{FEFC9E96-3F33-4BD3-9839-AD4394FAFC6F}" type="datetime1">
              <a:rPr lang="en-US" smtClean="0"/>
              <a:pPr/>
              <a:t>5/21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DDBE3-2DB1-6163-861C-C57A37FBE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F48E36-B11D-4770-8396-6D4BA555E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2299376-A175-72DC-380E-EC941F0D1A2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669" y="1661435"/>
            <a:ext cx="7151649" cy="4282068"/>
          </a:xfrm>
        </p:spPr>
        <p:txBody>
          <a:bodyPr/>
          <a:lstStyle/>
          <a:p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C76CAF1-E88D-679E-F7A6-238FF92C98D1}"/>
              </a:ext>
            </a:extLst>
          </p:cNvPr>
          <p:cNvGrpSpPr/>
          <p:nvPr userDrawn="1"/>
        </p:nvGrpSpPr>
        <p:grpSpPr>
          <a:xfrm rot="16200000">
            <a:off x="5597836" y="3584429"/>
            <a:ext cx="4387672" cy="459256"/>
            <a:chOff x="3902165" y="4725136"/>
            <a:chExt cx="4387672" cy="459256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28A6405-AFE5-E012-CE22-C27B9082794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6096000" y="2760926"/>
              <a:ext cx="1" cy="4387672"/>
            </a:xfrm>
            <a:prstGeom prst="line">
              <a:avLst/>
            </a:prstGeom>
            <a:ln w="9525" cap="rnd">
              <a:solidFill>
                <a:srgbClr val="00748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47A0F1EA-2111-32F2-28BE-FDAF5F75A0AF}"/>
                </a:ext>
              </a:extLst>
            </p:cNvPr>
            <p:cNvGrpSpPr/>
            <p:nvPr/>
          </p:nvGrpSpPr>
          <p:grpSpPr>
            <a:xfrm rot="5400000">
              <a:off x="5866374" y="4724581"/>
              <a:ext cx="459256" cy="460365"/>
              <a:chOff x="5861020" y="3757018"/>
              <a:chExt cx="459256" cy="460365"/>
            </a:xfrm>
          </p:grpSpPr>
          <p:sp>
            <p:nvSpPr>
              <p:cNvPr id="11" name="Freeform 94">
                <a:extLst>
                  <a:ext uri="{FF2B5EF4-FFF2-40B4-BE49-F238E27FC236}">
                    <a16:creationId xmlns:a16="http://schemas.microsoft.com/office/drawing/2014/main" id="{26E5287B-1BC7-2850-3156-EE8F610B3D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61020" y="3757018"/>
                <a:ext cx="459256" cy="460365"/>
              </a:xfrm>
              <a:prstGeom prst="flowChartDecision">
                <a:avLst/>
              </a:prstGeom>
              <a:solidFill>
                <a:srgbClr val="007483"/>
              </a:solidFill>
              <a:ln w="14288">
                <a:solidFill>
                  <a:srgbClr val="007483"/>
                </a:solidFill>
              </a:ln>
            </p:spPr>
            <p:txBody>
              <a:bodyPr vert="horz" wrap="square" lIns="132961" tIns="66481" rIns="132961" bIns="6648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12" name="Freeform 95">
                <a:extLst>
                  <a:ext uri="{FF2B5EF4-FFF2-40B4-BE49-F238E27FC236}">
                    <a16:creationId xmlns:a16="http://schemas.microsoft.com/office/drawing/2014/main" id="{78782A8F-8AF7-F81B-3BA9-224A6F3190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80396" y="3874834"/>
                <a:ext cx="217741" cy="224731"/>
              </a:xfrm>
              <a:prstGeom prst="rightArrow">
                <a:avLst>
                  <a:gd name="adj1" fmla="val 35165"/>
                  <a:gd name="adj2" fmla="val 47093"/>
                </a:avLst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6EBDEE4-0129-4AB4-1CC2-911591C962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12027" y="1646326"/>
            <a:ext cx="3760304" cy="43354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64456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B4C55C-6FF9-5891-0807-5FEE370FC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089FA4-51F0-3357-6F71-67A94A281C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14014B-4722-E038-2330-47C0936CE2C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DF952D-9410-AB2B-43D9-76E81060EA6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66BE524-B175-C2C0-EC1A-9F0FF1DEBE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B995A4-D267-C290-F35F-2FEA67D31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7483"/>
                </a:solidFill>
              </a:defRPr>
            </a:lvl1pPr>
          </a:lstStyle>
          <a:p>
            <a:fld id="{472B0EF3-F341-457B-8462-807AD73D5D22}" type="datetime1">
              <a:rPr lang="en-US" smtClean="0"/>
              <a:pPr/>
              <a:t>5/21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1EA20A1-0640-6B9C-4614-6EFCDA287E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890F476-1177-268A-0E3C-1D8A04A99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8610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DD9A59-A77F-B4B9-8444-D3CB995754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AA6F6-7261-0769-0792-AEA12BDB4F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1B11C9-27ED-39E1-4484-D1712214E9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5D0DA67-99AC-6493-2342-8793DAF2D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66E07-78DE-413E-81B3-7A4851EA5568}" type="datetime1">
              <a:rPr lang="en-US" smtClean="0"/>
              <a:pPr/>
              <a:t>5/21/2025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27E4939-D971-ED36-3729-E12A4126F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CCD38C0-79CC-C6D1-1950-484B3D280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1149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ight Triangle 7">
            <a:extLst>
              <a:ext uri="{FF2B5EF4-FFF2-40B4-BE49-F238E27FC236}">
                <a16:creationId xmlns:a16="http://schemas.microsoft.com/office/drawing/2014/main" id="{E7ADFB71-F2A5-4A02-0497-3D256E6D4448}"/>
              </a:ext>
            </a:extLst>
          </p:cNvPr>
          <p:cNvSpPr>
            <a:spLocks noChangeAspect="1"/>
          </p:cNvSpPr>
          <p:nvPr userDrawn="1"/>
        </p:nvSpPr>
        <p:spPr>
          <a:xfrm>
            <a:off x="-3606" y="2883027"/>
            <a:ext cx="7820515" cy="4054371"/>
          </a:xfrm>
          <a:custGeom>
            <a:avLst/>
            <a:gdLst>
              <a:gd name="connsiteX0" fmla="*/ 0 w 14571406"/>
              <a:gd name="connsiteY0" fmla="*/ 9719187 h 9719187"/>
              <a:gd name="connsiteX1" fmla="*/ 0 w 14571406"/>
              <a:gd name="connsiteY1" fmla="*/ 0 h 9719187"/>
              <a:gd name="connsiteX2" fmla="*/ 14571406 w 14571406"/>
              <a:gd name="connsiteY2" fmla="*/ 9719187 h 9719187"/>
              <a:gd name="connsiteX3" fmla="*/ 0 w 14571406"/>
              <a:gd name="connsiteY3" fmla="*/ 9719187 h 9719187"/>
              <a:gd name="connsiteX0" fmla="*/ 0 w 14571406"/>
              <a:gd name="connsiteY0" fmla="*/ 9719187 h 9719187"/>
              <a:gd name="connsiteX1" fmla="*/ 0 w 14571406"/>
              <a:gd name="connsiteY1" fmla="*/ 0 h 9719187"/>
              <a:gd name="connsiteX2" fmla="*/ 12192000 w 14571406"/>
              <a:gd name="connsiteY2" fmla="*/ 8138038 h 9719187"/>
              <a:gd name="connsiteX3" fmla="*/ 14571406 w 14571406"/>
              <a:gd name="connsiteY3" fmla="*/ 9719187 h 9719187"/>
              <a:gd name="connsiteX4" fmla="*/ 0 w 14571406"/>
              <a:gd name="connsiteY4" fmla="*/ 9719187 h 9719187"/>
              <a:gd name="connsiteX0" fmla="*/ 0 w 12221906"/>
              <a:gd name="connsiteY0" fmla="*/ 9719187 h 9744587"/>
              <a:gd name="connsiteX1" fmla="*/ 0 w 12221906"/>
              <a:gd name="connsiteY1" fmla="*/ 0 h 9744587"/>
              <a:gd name="connsiteX2" fmla="*/ 12192000 w 12221906"/>
              <a:gd name="connsiteY2" fmla="*/ 8138038 h 9744587"/>
              <a:gd name="connsiteX3" fmla="*/ 12221906 w 12221906"/>
              <a:gd name="connsiteY3" fmla="*/ 9744587 h 9744587"/>
              <a:gd name="connsiteX4" fmla="*/ 0 w 12221906"/>
              <a:gd name="connsiteY4" fmla="*/ 9719187 h 9744587"/>
              <a:gd name="connsiteX0" fmla="*/ 0 w 12202856"/>
              <a:gd name="connsiteY0" fmla="*/ 9719187 h 9750937"/>
              <a:gd name="connsiteX1" fmla="*/ 0 w 12202856"/>
              <a:gd name="connsiteY1" fmla="*/ 0 h 9750937"/>
              <a:gd name="connsiteX2" fmla="*/ 12192000 w 12202856"/>
              <a:gd name="connsiteY2" fmla="*/ 8138038 h 9750937"/>
              <a:gd name="connsiteX3" fmla="*/ 12202856 w 12202856"/>
              <a:gd name="connsiteY3" fmla="*/ 9750937 h 9750937"/>
              <a:gd name="connsiteX4" fmla="*/ 0 w 12202856"/>
              <a:gd name="connsiteY4" fmla="*/ 9719187 h 9750937"/>
              <a:gd name="connsiteX0" fmla="*/ 0 w 12202856"/>
              <a:gd name="connsiteY0" fmla="*/ 9719187 h 9750937"/>
              <a:gd name="connsiteX1" fmla="*/ 0 w 12202856"/>
              <a:gd name="connsiteY1" fmla="*/ 0 h 9750937"/>
              <a:gd name="connsiteX2" fmla="*/ 4256690 w 12202856"/>
              <a:gd name="connsiteY2" fmla="*/ 2829657 h 9750937"/>
              <a:gd name="connsiteX3" fmla="*/ 12192000 w 12202856"/>
              <a:gd name="connsiteY3" fmla="*/ 8138038 h 9750937"/>
              <a:gd name="connsiteX4" fmla="*/ 12202856 w 12202856"/>
              <a:gd name="connsiteY4" fmla="*/ 9750937 h 9750937"/>
              <a:gd name="connsiteX5" fmla="*/ 0 w 12202856"/>
              <a:gd name="connsiteY5" fmla="*/ 9719187 h 9750937"/>
              <a:gd name="connsiteX0" fmla="*/ 0 w 12202856"/>
              <a:gd name="connsiteY0" fmla="*/ 6889530 h 6921280"/>
              <a:gd name="connsiteX1" fmla="*/ 10510 w 12202856"/>
              <a:gd name="connsiteY1" fmla="*/ 71198 h 6921280"/>
              <a:gd name="connsiteX2" fmla="*/ 4256690 w 12202856"/>
              <a:gd name="connsiteY2" fmla="*/ 0 h 6921280"/>
              <a:gd name="connsiteX3" fmla="*/ 12192000 w 12202856"/>
              <a:gd name="connsiteY3" fmla="*/ 5308381 h 6921280"/>
              <a:gd name="connsiteX4" fmla="*/ 12202856 w 12202856"/>
              <a:gd name="connsiteY4" fmla="*/ 6921280 h 6921280"/>
              <a:gd name="connsiteX5" fmla="*/ 0 w 12202856"/>
              <a:gd name="connsiteY5" fmla="*/ 6889530 h 6921280"/>
              <a:gd name="connsiteX0" fmla="*/ 0 w 12202856"/>
              <a:gd name="connsiteY0" fmla="*/ 6889530 h 6921280"/>
              <a:gd name="connsiteX1" fmla="*/ 5748 w 12202856"/>
              <a:gd name="connsiteY1" fmla="*/ 28335 h 6921280"/>
              <a:gd name="connsiteX2" fmla="*/ 4256690 w 12202856"/>
              <a:gd name="connsiteY2" fmla="*/ 0 h 6921280"/>
              <a:gd name="connsiteX3" fmla="*/ 12192000 w 12202856"/>
              <a:gd name="connsiteY3" fmla="*/ 5308381 h 6921280"/>
              <a:gd name="connsiteX4" fmla="*/ 12202856 w 12202856"/>
              <a:gd name="connsiteY4" fmla="*/ 6921280 h 6921280"/>
              <a:gd name="connsiteX5" fmla="*/ 0 w 12202856"/>
              <a:gd name="connsiteY5" fmla="*/ 6889530 h 6921280"/>
              <a:gd name="connsiteX0" fmla="*/ 0 w 12202856"/>
              <a:gd name="connsiteY0" fmla="*/ 6870480 h 6902230"/>
              <a:gd name="connsiteX1" fmla="*/ 5748 w 12202856"/>
              <a:gd name="connsiteY1" fmla="*/ 9285 h 6902230"/>
              <a:gd name="connsiteX2" fmla="*/ 4247165 w 12202856"/>
              <a:gd name="connsiteY2" fmla="*/ 0 h 6902230"/>
              <a:gd name="connsiteX3" fmla="*/ 12192000 w 12202856"/>
              <a:gd name="connsiteY3" fmla="*/ 5289331 h 6902230"/>
              <a:gd name="connsiteX4" fmla="*/ 12202856 w 12202856"/>
              <a:gd name="connsiteY4" fmla="*/ 6902230 h 6902230"/>
              <a:gd name="connsiteX5" fmla="*/ 0 w 12202856"/>
              <a:gd name="connsiteY5" fmla="*/ 6870480 h 6902230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2000 w 12202856"/>
              <a:gd name="connsiteY3" fmla="*/ 5280046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6763 w 12202856"/>
              <a:gd name="connsiteY3" fmla="*/ 5213371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07048"/>
              <a:gd name="connsiteY0" fmla="*/ 6861195 h 6892945"/>
              <a:gd name="connsiteX1" fmla="*/ 5748 w 12207048"/>
              <a:gd name="connsiteY1" fmla="*/ 0 h 6892945"/>
              <a:gd name="connsiteX2" fmla="*/ 4270977 w 12207048"/>
              <a:gd name="connsiteY2" fmla="*/ 240 h 6892945"/>
              <a:gd name="connsiteX3" fmla="*/ 12206288 w 12207048"/>
              <a:gd name="connsiteY3" fmla="*/ 5218133 h 6892945"/>
              <a:gd name="connsiteX4" fmla="*/ 12202856 w 12207048"/>
              <a:gd name="connsiteY4" fmla="*/ 6892945 h 6892945"/>
              <a:gd name="connsiteX5" fmla="*/ 0 w 12207048"/>
              <a:gd name="connsiteY5" fmla="*/ 6861195 h 6892945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1658 w 12202856"/>
              <a:gd name="connsiteY3" fmla="*/ 5254709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11273"/>
              <a:gd name="connsiteY0" fmla="*/ 6861195 h 6892945"/>
              <a:gd name="connsiteX1" fmla="*/ 5748 w 12211273"/>
              <a:gd name="connsiteY1" fmla="*/ 0 h 6892945"/>
              <a:gd name="connsiteX2" fmla="*/ 4270977 w 12211273"/>
              <a:gd name="connsiteY2" fmla="*/ 240 h 6892945"/>
              <a:gd name="connsiteX3" fmla="*/ 12210708 w 12211273"/>
              <a:gd name="connsiteY3" fmla="*/ 5229309 h 6892945"/>
              <a:gd name="connsiteX4" fmla="*/ 12202856 w 12211273"/>
              <a:gd name="connsiteY4" fmla="*/ 6892945 h 6892945"/>
              <a:gd name="connsiteX5" fmla="*/ 0 w 12211273"/>
              <a:gd name="connsiteY5" fmla="*/ 6861195 h 6892945"/>
              <a:gd name="connsiteX0" fmla="*/ 0 w 12211273"/>
              <a:gd name="connsiteY0" fmla="*/ 7480011 h 7511761"/>
              <a:gd name="connsiteX1" fmla="*/ 5748 w 12211273"/>
              <a:gd name="connsiteY1" fmla="*/ 618816 h 7511761"/>
              <a:gd name="connsiteX2" fmla="*/ 3317079 w 12211273"/>
              <a:gd name="connsiteY2" fmla="*/ 0 h 7511761"/>
              <a:gd name="connsiteX3" fmla="*/ 12210708 w 12211273"/>
              <a:gd name="connsiteY3" fmla="*/ 5848125 h 7511761"/>
              <a:gd name="connsiteX4" fmla="*/ 12202856 w 12211273"/>
              <a:gd name="connsiteY4" fmla="*/ 7511761 h 7511761"/>
              <a:gd name="connsiteX5" fmla="*/ 0 w 12211273"/>
              <a:gd name="connsiteY5" fmla="*/ 7480011 h 7511761"/>
              <a:gd name="connsiteX0" fmla="*/ 0 w 14626516"/>
              <a:gd name="connsiteY0" fmla="*/ 7480011 h 7606415"/>
              <a:gd name="connsiteX1" fmla="*/ 5748 w 14626516"/>
              <a:gd name="connsiteY1" fmla="*/ 618816 h 7606415"/>
              <a:gd name="connsiteX2" fmla="*/ 3317079 w 14626516"/>
              <a:gd name="connsiteY2" fmla="*/ 0 h 7606415"/>
              <a:gd name="connsiteX3" fmla="*/ 14626512 w 14626516"/>
              <a:gd name="connsiteY3" fmla="*/ 7442829 h 7606415"/>
              <a:gd name="connsiteX4" fmla="*/ 12202856 w 14626516"/>
              <a:gd name="connsiteY4" fmla="*/ 7511761 h 7606415"/>
              <a:gd name="connsiteX5" fmla="*/ 0 w 14626516"/>
              <a:gd name="connsiteY5" fmla="*/ 7480011 h 7606415"/>
              <a:gd name="connsiteX0" fmla="*/ 0 w 14678224"/>
              <a:gd name="connsiteY0" fmla="*/ 7480011 h 7601092"/>
              <a:gd name="connsiteX1" fmla="*/ 5748 w 14678224"/>
              <a:gd name="connsiteY1" fmla="*/ 618816 h 7601092"/>
              <a:gd name="connsiteX2" fmla="*/ 3317079 w 14678224"/>
              <a:gd name="connsiteY2" fmla="*/ 0 h 7601092"/>
              <a:gd name="connsiteX3" fmla="*/ 14626512 w 14678224"/>
              <a:gd name="connsiteY3" fmla="*/ 7442829 h 7601092"/>
              <a:gd name="connsiteX4" fmla="*/ 14678224 w 14678224"/>
              <a:gd name="connsiteY4" fmla="*/ 7468903 h 7601092"/>
              <a:gd name="connsiteX5" fmla="*/ 0 w 14678224"/>
              <a:gd name="connsiteY5" fmla="*/ 7480011 h 7601092"/>
              <a:gd name="connsiteX0" fmla="*/ 0 w 14678224"/>
              <a:gd name="connsiteY0" fmla="*/ 7480011 h 7601094"/>
              <a:gd name="connsiteX1" fmla="*/ 53443 w 14678224"/>
              <a:gd name="connsiteY1" fmla="*/ 1714068 h 7601094"/>
              <a:gd name="connsiteX2" fmla="*/ 3317079 w 14678224"/>
              <a:gd name="connsiteY2" fmla="*/ 0 h 7601094"/>
              <a:gd name="connsiteX3" fmla="*/ 14626512 w 14678224"/>
              <a:gd name="connsiteY3" fmla="*/ 7442829 h 7601094"/>
              <a:gd name="connsiteX4" fmla="*/ 14678224 w 14678224"/>
              <a:gd name="connsiteY4" fmla="*/ 7468903 h 7601094"/>
              <a:gd name="connsiteX5" fmla="*/ 0 w 14678224"/>
              <a:gd name="connsiteY5" fmla="*/ 7480011 h 7601094"/>
              <a:gd name="connsiteX0" fmla="*/ 0 w 14678224"/>
              <a:gd name="connsiteY0" fmla="*/ 7480011 h 7601092"/>
              <a:gd name="connsiteX1" fmla="*/ 5748 w 14678224"/>
              <a:gd name="connsiteY1" fmla="*/ 2142644 h 7601092"/>
              <a:gd name="connsiteX2" fmla="*/ 3317079 w 14678224"/>
              <a:gd name="connsiteY2" fmla="*/ 0 h 7601092"/>
              <a:gd name="connsiteX3" fmla="*/ 14626512 w 14678224"/>
              <a:gd name="connsiteY3" fmla="*/ 7442829 h 7601092"/>
              <a:gd name="connsiteX4" fmla="*/ 14678224 w 14678224"/>
              <a:gd name="connsiteY4" fmla="*/ 7468903 h 7601092"/>
              <a:gd name="connsiteX5" fmla="*/ 0 w 14678224"/>
              <a:gd name="connsiteY5" fmla="*/ 7480011 h 7601092"/>
              <a:gd name="connsiteX0" fmla="*/ 0 w 14678224"/>
              <a:gd name="connsiteY0" fmla="*/ 7480011 h 7601094"/>
              <a:gd name="connsiteX1" fmla="*/ 5748 w 14678224"/>
              <a:gd name="connsiteY1" fmla="*/ 2237884 h 7601094"/>
              <a:gd name="connsiteX2" fmla="*/ 3317079 w 14678224"/>
              <a:gd name="connsiteY2" fmla="*/ 0 h 7601094"/>
              <a:gd name="connsiteX3" fmla="*/ 14626512 w 14678224"/>
              <a:gd name="connsiteY3" fmla="*/ 7442829 h 7601094"/>
              <a:gd name="connsiteX4" fmla="*/ 14678224 w 14678224"/>
              <a:gd name="connsiteY4" fmla="*/ 7468903 h 7601094"/>
              <a:gd name="connsiteX5" fmla="*/ 0 w 14678224"/>
              <a:gd name="connsiteY5" fmla="*/ 7480011 h 7601094"/>
              <a:gd name="connsiteX0" fmla="*/ 6773 w 14684997"/>
              <a:gd name="connsiteY0" fmla="*/ 7480011 h 7601092"/>
              <a:gd name="connsiteX1" fmla="*/ 597 w 14684997"/>
              <a:gd name="connsiteY1" fmla="*/ 2225979 h 7601092"/>
              <a:gd name="connsiteX2" fmla="*/ 3323852 w 14684997"/>
              <a:gd name="connsiteY2" fmla="*/ 0 h 7601092"/>
              <a:gd name="connsiteX3" fmla="*/ 14633285 w 14684997"/>
              <a:gd name="connsiteY3" fmla="*/ 7442829 h 7601092"/>
              <a:gd name="connsiteX4" fmla="*/ 14684997 w 14684997"/>
              <a:gd name="connsiteY4" fmla="*/ 7468903 h 7601092"/>
              <a:gd name="connsiteX5" fmla="*/ 6773 w 14684997"/>
              <a:gd name="connsiteY5" fmla="*/ 7480011 h 7601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84997" h="7601092">
                <a:moveTo>
                  <a:pt x="6773" y="7480011"/>
                </a:moveTo>
                <a:cubicBezTo>
                  <a:pt x="10276" y="5207234"/>
                  <a:pt x="-2906" y="4498756"/>
                  <a:pt x="597" y="2225979"/>
                </a:cubicBezTo>
                <a:lnTo>
                  <a:pt x="3323852" y="0"/>
                </a:lnTo>
                <a:lnTo>
                  <a:pt x="14633285" y="7442829"/>
                </a:lnTo>
                <a:cubicBezTo>
                  <a:pt x="14636904" y="7980462"/>
                  <a:pt x="14681378" y="6931270"/>
                  <a:pt x="14684997" y="7468903"/>
                </a:cubicBezTo>
                <a:lnTo>
                  <a:pt x="6773" y="748001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0A2618B7-F2DD-76B1-2A34-E9B814F8569F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0" y="0"/>
            <a:ext cx="6096000" cy="4066057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990FEB-74BA-D8F9-48C4-401ECD27B9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7600" y="1709738"/>
            <a:ext cx="8959850" cy="2356319"/>
          </a:xfrm>
        </p:spPr>
        <p:txBody>
          <a:bodyPr anchor="ctr"/>
          <a:lstStyle>
            <a:lvl1pPr>
              <a:defRPr sz="6000"/>
            </a:lvl1pPr>
          </a:lstStyle>
          <a:p>
            <a:r>
              <a:rPr lang="en-US" dirty="0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4B8D26-619D-4A11-32F3-8D0E047B74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06900" y="4091457"/>
            <a:ext cx="695325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F35E94-DEEC-B5F1-31DD-8397361A7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277A6-3D26-4BA4-AFC3-F2515795522A}" type="datetime1">
              <a:rPr lang="en-US" smtClean="0"/>
              <a:t>5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41C37C-1C57-8712-A899-C43469B553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1FC157-7C5C-D48A-05EB-8C65D04FC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381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1F194E-554A-EEBB-813D-86069D6AD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1FE2BAC-2893-9EFB-F35C-A5938A9FA12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0B4E81-CF29-5183-8C38-4528A18983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85E7A1-9FB8-F20F-A9F2-3298E3A0D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CE25C1B7-DCC0-4A15-8207-37E134CDEBDB}" type="datetime1">
              <a:rPr lang="en-US" smtClean="0"/>
              <a:pPr/>
              <a:t>5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06F87D-627B-0711-9683-391CB8E7C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65C924-E195-A69A-8344-A10282025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7096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DA94AF-F80F-8BD2-AD65-C46F33EC9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2D0005D-BC93-10F1-2A57-F15229D422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6811AD-F3DB-42F3-24F5-5A0288A4D1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AAB18-8656-4C68-B4C4-71513BC242E8}" type="datetime1">
              <a:rPr lang="en-US" smtClean="0"/>
              <a:t>5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4EB003-EA9F-32E9-326E-CD7B519A12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6BFF5F-B93A-92C8-A903-FF252D1F8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582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0C61F24-6D08-25D0-D9CF-C7289247EBC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979DB1-2A31-69AA-6869-EDA88A0BA3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6D6013-C5A7-985C-2276-6CE21E9EA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A91F2-CBCD-4D68-8904-43E194B785D9}" type="datetime1">
              <a:rPr lang="en-US" smtClean="0"/>
              <a:t>5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601444-BB4A-9A57-2B9F-F5BB8D7836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61400A-9ED2-8380-A95E-4C108C9E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3228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ight Triangle 7">
            <a:extLst>
              <a:ext uri="{FF2B5EF4-FFF2-40B4-BE49-F238E27FC236}">
                <a16:creationId xmlns:a16="http://schemas.microsoft.com/office/drawing/2014/main" id="{E7ADFB71-F2A5-4A02-0497-3D256E6D4448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6078054" y="2883027"/>
            <a:ext cx="7820515" cy="4054371"/>
          </a:xfrm>
          <a:custGeom>
            <a:avLst/>
            <a:gdLst>
              <a:gd name="connsiteX0" fmla="*/ 0 w 14571406"/>
              <a:gd name="connsiteY0" fmla="*/ 9719187 h 9719187"/>
              <a:gd name="connsiteX1" fmla="*/ 0 w 14571406"/>
              <a:gd name="connsiteY1" fmla="*/ 0 h 9719187"/>
              <a:gd name="connsiteX2" fmla="*/ 14571406 w 14571406"/>
              <a:gd name="connsiteY2" fmla="*/ 9719187 h 9719187"/>
              <a:gd name="connsiteX3" fmla="*/ 0 w 14571406"/>
              <a:gd name="connsiteY3" fmla="*/ 9719187 h 9719187"/>
              <a:gd name="connsiteX0" fmla="*/ 0 w 14571406"/>
              <a:gd name="connsiteY0" fmla="*/ 9719187 h 9719187"/>
              <a:gd name="connsiteX1" fmla="*/ 0 w 14571406"/>
              <a:gd name="connsiteY1" fmla="*/ 0 h 9719187"/>
              <a:gd name="connsiteX2" fmla="*/ 12192000 w 14571406"/>
              <a:gd name="connsiteY2" fmla="*/ 8138038 h 9719187"/>
              <a:gd name="connsiteX3" fmla="*/ 14571406 w 14571406"/>
              <a:gd name="connsiteY3" fmla="*/ 9719187 h 9719187"/>
              <a:gd name="connsiteX4" fmla="*/ 0 w 14571406"/>
              <a:gd name="connsiteY4" fmla="*/ 9719187 h 9719187"/>
              <a:gd name="connsiteX0" fmla="*/ 0 w 12221906"/>
              <a:gd name="connsiteY0" fmla="*/ 9719187 h 9744587"/>
              <a:gd name="connsiteX1" fmla="*/ 0 w 12221906"/>
              <a:gd name="connsiteY1" fmla="*/ 0 h 9744587"/>
              <a:gd name="connsiteX2" fmla="*/ 12192000 w 12221906"/>
              <a:gd name="connsiteY2" fmla="*/ 8138038 h 9744587"/>
              <a:gd name="connsiteX3" fmla="*/ 12221906 w 12221906"/>
              <a:gd name="connsiteY3" fmla="*/ 9744587 h 9744587"/>
              <a:gd name="connsiteX4" fmla="*/ 0 w 12221906"/>
              <a:gd name="connsiteY4" fmla="*/ 9719187 h 9744587"/>
              <a:gd name="connsiteX0" fmla="*/ 0 w 12202856"/>
              <a:gd name="connsiteY0" fmla="*/ 9719187 h 9750937"/>
              <a:gd name="connsiteX1" fmla="*/ 0 w 12202856"/>
              <a:gd name="connsiteY1" fmla="*/ 0 h 9750937"/>
              <a:gd name="connsiteX2" fmla="*/ 12192000 w 12202856"/>
              <a:gd name="connsiteY2" fmla="*/ 8138038 h 9750937"/>
              <a:gd name="connsiteX3" fmla="*/ 12202856 w 12202856"/>
              <a:gd name="connsiteY3" fmla="*/ 9750937 h 9750937"/>
              <a:gd name="connsiteX4" fmla="*/ 0 w 12202856"/>
              <a:gd name="connsiteY4" fmla="*/ 9719187 h 9750937"/>
              <a:gd name="connsiteX0" fmla="*/ 0 w 12202856"/>
              <a:gd name="connsiteY0" fmla="*/ 9719187 h 9750937"/>
              <a:gd name="connsiteX1" fmla="*/ 0 w 12202856"/>
              <a:gd name="connsiteY1" fmla="*/ 0 h 9750937"/>
              <a:gd name="connsiteX2" fmla="*/ 4256690 w 12202856"/>
              <a:gd name="connsiteY2" fmla="*/ 2829657 h 9750937"/>
              <a:gd name="connsiteX3" fmla="*/ 12192000 w 12202856"/>
              <a:gd name="connsiteY3" fmla="*/ 8138038 h 9750937"/>
              <a:gd name="connsiteX4" fmla="*/ 12202856 w 12202856"/>
              <a:gd name="connsiteY4" fmla="*/ 9750937 h 9750937"/>
              <a:gd name="connsiteX5" fmla="*/ 0 w 12202856"/>
              <a:gd name="connsiteY5" fmla="*/ 9719187 h 9750937"/>
              <a:gd name="connsiteX0" fmla="*/ 0 w 12202856"/>
              <a:gd name="connsiteY0" fmla="*/ 6889530 h 6921280"/>
              <a:gd name="connsiteX1" fmla="*/ 10510 w 12202856"/>
              <a:gd name="connsiteY1" fmla="*/ 71198 h 6921280"/>
              <a:gd name="connsiteX2" fmla="*/ 4256690 w 12202856"/>
              <a:gd name="connsiteY2" fmla="*/ 0 h 6921280"/>
              <a:gd name="connsiteX3" fmla="*/ 12192000 w 12202856"/>
              <a:gd name="connsiteY3" fmla="*/ 5308381 h 6921280"/>
              <a:gd name="connsiteX4" fmla="*/ 12202856 w 12202856"/>
              <a:gd name="connsiteY4" fmla="*/ 6921280 h 6921280"/>
              <a:gd name="connsiteX5" fmla="*/ 0 w 12202856"/>
              <a:gd name="connsiteY5" fmla="*/ 6889530 h 6921280"/>
              <a:gd name="connsiteX0" fmla="*/ 0 w 12202856"/>
              <a:gd name="connsiteY0" fmla="*/ 6889530 h 6921280"/>
              <a:gd name="connsiteX1" fmla="*/ 5748 w 12202856"/>
              <a:gd name="connsiteY1" fmla="*/ 28335 h 6921280"/>
              <a:gd name="connsiteX2" fmla="*/ 4256690 w 12202856"/>
              <a:gd name="connsiteY2" fmla="*/ 0 h 6921280"/>
              <a:gd name="connsiteX3" fmla="*/ 12192000 w 12202856"/>
              <a:gd name="connsiteY3" fmla="*/ 5308381 h 6921280"/>
              <a:gd name="connsiteX4" fmla="*/ 12202856 w 12202856"/>
              <a:gd name="connsiteY4" fmla="*/ 6921280 h 6921280"/>
              <a:gd name="connsiteX5" fmla="*/ 0 w 12202856"/>
              <a:gd name="connsiteY5" fmla="*/ 6889530 h 6921280"/>
              <a:gd name="connsiteX0" fmla="*/ 0 w 12202856"/>
              <a:gd name="connsiteY0" fmla="*/ 6870480 h 6902230"/>
              <a:gd name="connsiteX1" fmla="*/ 5748 w 12202856"/>
              <a:gd name="connsiteY1" fmla="*/ 9285 h 6902230"/>
              <a:gd name="connsiteX2" fmla="*/ 4247165 w 12202856"/>
              <a:gd name="connsiteY2" fmla="*/ 0 h 6902230"/>
              <a:gd name="connsiteX3" fmla="*/ 12192000 w 12202856"/>
              <a:gd name="connsiteY3" fmla="*/ 5289331 h 6902230"/>
              <a:gd name="connsiteX4" fmla="*/ 12202856 w 12202856"/>
              <a:gd name="connsiteY4" fmla="*/ 6902230 h 6902230"/>
              <a:gd name="connsiteX5" fmla="*/ 0 w 12202856"/>
              <a:gd name="connsiteY5" fmla="*/ 6870480 h 6902230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2000 w 12202856"/>
              <a:gd name="connsiteY3" fmla="*/ 5280046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6763 w 12202856"/>
              <a:gd name="connsiteY3" fmla="*/ 5213371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07048"/>
              <a:gd name="connsiteY0" fmla="*/ 6861195 h 6892945"/>
              <a:gd name="connsiteX1" fmla="*/ 5748 w 12207048"/>
              <a:gd name="connsiteY1" fmla="*/ 0 h 6892945"/>
              <a:gd name="connsiteX2" fmla="*/ 4270977 w 12207048"/>
              <a:gd name="connsiteY2" fmla="*/ 240 h 6892945"/>
              <a:gd name="connsiteX3" fmla="*/ 12206288 w 12207048"/>
              <a:gd name="connsiteY3" fmla="*/ 5218133 h 6892945"/>
              <a:gd name="connsiteX4" fmla="*/ 12202856 w 12207048"/>
              <a:gd name="connsiteY4" fmla="*/ 6892945 h 6892945"/>
              <a:gd name="connsiteX5" fmla="*/ 0 w 12207048"/>
              <a:gd name="connsiteY5" fmla="*/ 6861195 h 6892945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1658 w 12202856"/>
              <a:gd name="connsiteY3" fmla="*/ 5254709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11273"/>
              <a:gd name="connsiteY0" fmla="*/ 6861195 h 6892945"/>
              <a:gd name="connsiteX1" fmla="*/ 5748 w 12211273"/>
              <a:gd name="connsiteY1" fmla="*/ 0 h 6892945"/>
              <a:gd name="connsiteX2" fmla="*/ 4270977 w 12211273"/>
              <a:gd name="connsiteY2" fmla="*/ 240 h 6892945"/>
              <a:gd name="connsiteX3" fmla="*/ 12210708 w 12211273"/>
              <a:gd name="connsiteY3" fmla="*/ 5229309 h 6892945"/>
              <a:gd name="connsiteX4" fmla="*/ 12202856 w 12211273"/>
              <a:gd name="connsiteY4" fmla="*/ 6892945 h 6892945"/>
              <a:gd name="connsiteX5" fmla="*/ 0 w 12211273"/>
              <a:gd name="connsiteY5" fmla="*/ 6861195 h 6892945"/>
              <a:gd name="connsiteX0" fmla="*/ 0 w 12211273"/>
              <a:gd name="connsiteY0" fmla="*/ 7480011 h 7511761"/>
              <a:gd name="connsiteX1" fmla="*/ 5748 w 12211273"/>
              <a:gd name="connsiteY1" fmla="*/ 618816 h 7511761"/>
              <a:gd name="connsiteX2" fmla="*/ 3317079 w 12211273"/>
              <a:gd name="connsiteY2" fmla="*/ 0 h 7511761"/>
              <a:gd name="connsiteX3" fmla="*/ 12210708 w 12211273"/>
              <a:gd name="connsiteY3" fmla="*/ 5848125 h 7511761"/>
              <a:gd name="connsiteX4" fmla="*/ 12202856 w 12211273"/>
              <a:gd name="connsiteY4" fmla="*/ 7511761 h 7511761"/>
              <a:gd name="connsiteX5" fmla="*/ 0 w 12211273"/>
              <a:gd name="connsiteY5" fmla="*/ 7480011 h 7511761"/>
              <a:gd name="connsiteX0" fmla="*/ 0 w 14626516"/>
              <a:gd name="connsiteY0" fmla="*/ 7480011 h 7606415"/>
              <a:gd name="connsiteX1" fmla="*/ 5748 w 14626516"/>
              <a:gd name="connsiteY1" fmla="*/ 618816 h 7606415"/>
              <a:gd name="connsiteX2" fmla="*/ 3317079 w 14626516"/>
              <a:gd name="connsiteY2" fmla="*/ 0 h 7606415"/>
              <a:gd name="connsiteX3" fmla="*/ 14626512 w 14626516"/>
              <a:gd name="connsiteY3" fmla="*/ 7442829 h 7606415"/>
              <a:gd name="connsiteX4" fmla="*/ 12202856 w 14626516"/>
              <a:gd name="connsiteY4" fmla="*/ 7511761 h 7606415"/>
              <a:gd name="connsiteX5" fmla="*/ 0 w 14626516"/>
              <a:gd name="connsiteY5" fmla="*/ 7480011 h 7606415"/>
              <a:gd name="connsiteX0" fmla="*/ 0 w 14678224"/>
              <a:gd name="connsiteY0" fmla="*/ 7480011 h 7601092"/>
              <a:gd name="connsiteX1" fmla="*/ 5748 w 14678224"/>
              <a:gd name="connsiteY1" fmla="*/ 618816 h 7601092"/>
              <a:gd name="connsiteX2" fmla="*/ 3317079 w 14678224"/>
              <a:gd name="connsiteY2" fmla="*/ 0 h 7601092"/>
              <a:gd name="connsiteX3" fmla="*/ 14626512 w 14678224"/>
              <a:gd name="connsiteY3" fmla="*/ 7442829 h 7601092"/>
              <a:gd name="connsiteX4" fmla="*/ 14678224 w 14678224"/>
              <a:gd name="connsiteY4" fmla="*/ 7468903 h 7601092"/>
              <a:gd name="connsiteX5" fmla="*/ 0 w 14678224"/>
              <a:gd name="connsiteY5" fmla="*/ 7480011 h 7601092"/>
              <a:gd name="connsiteX0" fmla="*/ 0 w 14678224"/>
              <a:gd name="connsiteY0" fmla="*/ 7480011 h 7601094"/>
              <a:gd name="connsiteX1" fmla="*/ 53443 w 14678224"/>
              <a:gd name="connsiteY1" fmla="*/ 1714068 h 7601094"/>
              <a:gd name="connsiteX2" fmla="*/ 3317079 w 14678224"/>
              <a:gd name="connsiteY2" fmla="*/ 0 h 7601094"/>
              <a:gd name="connsiteX3" fmla="*/ 14626512 w 14678224"/>
              <a:gd name="connsiteY3" fmla="*/ 7442829 h 7601094"/>
              <a:gd name="connsiteX4" fmla="*/ 14678224 w 14678224"/>
              <a:gd name="connsiteY4" fmla="*/ 7468903 h 7601094"/>
              <a:gd name="connsiteX5" fmla="*/ 0 w 14678224"/>
              <a:gd name="connsiteY5" fmla="*/ 7480011 h 7601094"/>
              <a:gd name="connsiteX0" fmla="*/ 0 w 14678224"/>
              <a:gd name="connsiteY0" fmla="*/ 7480011 h 7601092"/>
              <a:gd name="connsiteX1" fmla="*/ 5748 w 14678224"/>
              <a:gd name="connsiteY1" fmla="*/ 2142644 h 7601092"/>
              <a:gd name="connsiteX2" fmla="*/ 3317079 w 14678224"/>
              <a:gd name="connsiteY2" fmla="*/ 0 h 7601092"/>
              <a:gd name="connsiteX3" fmla="*/ 14626512 w 14678224"/>
              <a:gd name="connsiteY3" fmla="*/ 7442829 h 7601092"/>
              <a:gd name="connsiteX4" fmla="*/ 14678224 w 14678224"/>
              <a:gd name="connsiteY4" fmla="*/ 7468903 h 7601092"/>
              <a:gd name="connsiteX5" fmla="*/ 0 w 14678224"/>
              <a:gd name="connsiteY5" fmla="*/ 7480011 h 7601092"/>
              <a:gd name="connsiteX0" fmla="*/ 0 w 14678224"/>
              <a:gd name="connsiteY0" fmla="*/ 7480011 h 7601094"/>
              <a:gd name="connsiteX1" fmla="*/ 5748 w 14678224"/>
              <a:gd name="connsiteY1" fmla="*/ 2237884 h 7601094"/>
              <a:gd name="connsiteX2" fmla="*/ 3317079 w 14678224"/>
              <a:gd name="connsiteY2" fmla="*/ 0 h 7601094"/>
              <a:gd name="connsiteX3" fmla="*/ 14626512 w 14678224"/>
              <a:gd name="connsiteY3" fmla="*/ 7442829 h 7601094"/>
              <a:gd name="connsiteX4" fmla="*/ 14678224 w 14678224"/>
              <a:gd name="connsiteY4" fmla="*/ 7468903 h 7601094"/>
              <a:gd name="connsiteX5" fmla="*/ 0 w 14678224"/>
              <a:gd name="connsiteY5" fmla="*/ 7480011 h 7601094"/>
              <a:gd name="connsiteX0" fmla="*/ 6773 w 14684997"/>
              <a:gd name="connsiteY0" fmla="*/ 7480011 h 7601092"/>
              <a:gd name="connsiteX1" fmla="*/ 597 w 14684997"/>
              <a:gd name="connsiteY1" fmla="*/ 2225979 h 7601092"/>
              <a:gd name="connsiteX2" fmla="*/ 3323852 w 14684997"/>
              <a:gd name="connsiteY2" fmla="*/ 0 h 7601092"/>
              <a:gd name="connsiteX3" fmla="*/ 14633285 w 14684997"/>
              <a:gd name="connsiteY3" fmla="*/ 7442829 h 7601092"/>
              <a:gd name="connsiteX4" fmla="*/ 14684997 w 14684997"/>
              <a:gd name="connsiteY4" fmla="*/ 7468903 h 7601092"/>
              <a:gd name="connsiteX5" fmla="*/ 6773 w 14684997"/>
              <a:gd name="connsiteY5" fmla="*/ 7480011 h 7601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84997" h="7601092">
                <a:moveTo>
                  <a:pt x="6773" y="7480011"/>
                </a:moveTo>
                <a:cubicBezTo>
                  <a:pt x="10276" y="5207234"/>
                  <a:pt x="-2906" y="4498756"/>
                  <a:pt x="597" y="2225979"/>
                </a:cubicBezTo>
                <a:lnTo>
                  <a:pt x="3323852" y="0"/>
                </a:lnTo>
                <a:lnTo>
                  <a:pt x="14633285" y="7442829"/>
                </a:lnTo>
                <a:cubicBezTo>
                  <a:pt x="14636904" y="7980462"/>
                  <a:pt x="14681378" y="6931270"/>
                  <a:pt x="14684997" y="7468903"/>
                </a:cubicBezTo>
                <a:lnTo>
                  <a:pt x="6773" y="748001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0A2618B7-F2DD-76B1-2A34-E9B814F8569F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6081660" y="0"/>
            <a:ext cx="6096000" cy="4066057"/>
          </a:xfrm>
          <a:prstGeom prst="rtTriangle">
            <a:avLst/>
          </a:prstGeom>
          <a:solidFill>
            <a:srgbClr val="007382">
              <a:alpha val="78000"/>
            </a:srgbClr>
          </a:solidFill>
          <a:ln>
            <a:noFill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4D4ACE6-008A-B731-C1CB-8EBFBC0D77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6336" y="1445159"/>
            <a:ext cx="11041179" cy="477282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3219FC-EC74-7587-7DF3-6CC6EA8D4F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66E07-78DE-413E-81B3-7A4851EA5568}" type="datetime1">
              <a:rPr lang="en-US" smtClean="0"/>
              <a:pPr/>
              <a:t>5/21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F247E7-0E19-7564-4C9F-F932A009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574D4BB-44F1-F876-B73F-0A2327FE5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F327C1B-021E-4ADD-55B7-6BF2DBBFEF01}"/>
              </a:ext>
            </a:extLst>
          </p:cNvPr>
          <p:cNvGrpSpPr/>
          <p:nvPr userDrawn="1"/>
        </p:nvGrpSpPr>
        <p:grpSpPr>
          <a:xfrm>
            <a:off x="-6140" y="4878000"/>
            <a:ext cx="3298789" cy="1992706"/>
            <a:chOff x="-33312" y="2914053"/>
            <a:chExt cx="6592990" cy="3983157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D608446A-B6A6-AB7C-B229-A31A1B305868}"/>
                </a:ext>
              </a:extLst>
            </p:cNvPr>
            <p:cNvCxnSpPr>
              <a:cxnSpLocks/>
              <a:stCxn id="21" idx="5"/>
            </p:cNvCxnSpPr>
            <p:nvPr userDrawn="1"/>
          </p:nvCxnSpPr>
          <p:spPr>
            <a:xfrm>
              <a:off x="1986409" y="6314268"/>
              <a:ext cx="937781" cy="562769"/>
            </a:xfrm>
            <a:prstGeom prst="line">
              <a:avLst/>
            </a:prstGeom>
            <a:ln w="12700">
              <a:solidFill>
                <a:schemeClr val="accent2">
                  <a:alpha val="2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B335E168-A8BD-068E-14C8-1DAA5412660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35081" y="6249040"/>
              <a:ext cx="1553042" cy="608960"/>
            </a:xfrm>
            <a:prstGeom prst="line">
              <a:avLst/>
            </a:prstGeom>
            <a:ln w="12700">
              <a:solidFill>
                <a:schemeClr val="accent2">
                  <a:alpha val="2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12B0CDF-F288-EE1A-EF5F-90C37CDCDA7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3312" y="5538351"/>
              <a:ext cx="255414" cy="702250"/>
            </a:xfrm>
            <a:prstGeom prst="line">
              <a:avLst/>
            </a:prstGeom>
            <a:ln w="12700">
              <a:solidFill>
                <a:schemeClr val="accent2">
                  <a:alpha val="2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5F08C42-4A21-4A85-7459-8D4C2FA37CE9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377422" y="5480566"/>
              <a:ext cx="1304351" cy="629530"/>
            </a:xfrm>
            <a:prstGeom prst="line">
              <a:avLst/>
            </a:prstGeom>
            <a:ln w="12700">
              <a:solidFill>
                <a:schemeClr val="accent2">
                  <a:alpha val="2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850BF8B-59E4-084B-C556-5F17606B42C3}"/>
                </a:ext>
              </a:extLst>
            </p:cNvPr>
            <p:cNvGrpSpPr/>
            <p:nvPr userDrawn="1"/>
          </p:nvGrpSpPr>
          <p:grpSpPr>
            <a:xfrm>
              <a:off x="-21040" y="2914053"/>
              <a:ext cx="6580718" cy="3983157"/>
              <a:chOff x="-21040" y="2914053"/>
              <a:chExt cx="6580718" cy="3983157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113FD665-CDE5-82C3-BE5B-8E8846A771EB}"/>
                  </a:ext>
                </a:extLst>
              </p:cNvPr>
              <p:cNvGrpSpPr/>
              <p:nvPr userDrawn="1"/>
            </p:nvGrpSpPr>
            <p:grpSpPr>
              <a:xfrm>
                <a:off x="-21040" y="2914053"/>
                <a:ext cx="6580718" cy="3983157"/>
                <a:chOff x="2843825" y="2011837"/>
                <a:chExt cx="6580718" cy="3983157"/>
              </a:xfrm>
            </p:grpSpPr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5E8FEBCE-04E0-EA50-E26A-2FD7A1B74083}"/>
                    </a:ext>
                  </a:extLst>
                </p:cNvPr>
                <p:cNvSpPr/>
                <p:nvPr userDrawn="1"/>
              </p:nvSpPr>
              <p:spPr>
                <a:xfrm>
                  <a:off x="4512981" y="5079511"/>
                  <a:ext cx="396334" cy="389597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C1040905-54FE-653D-5455-5C10401AA3B2}"/>
                    </a:ext>
                  </a:extLst>
                </p:cNvPr>
                <p:cNvSpPr/>
                <p:nvPr userDrawn="1"/>
              </p:nvSpPr>
              <p:spPr>
                <a:xfrm>
                  <a:off x="2995789" y="4393565"/>
                  <a:ext cx="248979" cy="242571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A056462B-6864-6D67-48F1-6E560E6D7E12}"/>
                    </a:ext>
                  </a:extLst>
                </p:cNvPr>
                <p:cNvSpPr/>
                <p:nvPr userDrawn="1"/>
              </p:nvSpPr>
              <p:spPr>
                <a:xfrm>
                  <a:off x="7261860" y="4514850"/>
                  <a:ext cx="360000" cy="358140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8EE4D416-A3CC-C1CC-8159-B0ADC6EF4046}"/>
                    </a:ext>
                  </a:extLst>
                </p:cNvPr>
                <p:cNvSpPr/>
                <p:nvPr userDrawn="1"/>
              </p:nvSpPr>
              <p:spPr>
                <a:xfrm>
                  <a:off x="4146853" y="2805932"/>
                  <a:ext cx="360000" cy="358140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3FECE8DD-A694-4B84-4766-8B0D98E0610B}"/>
                    </a:ext>
                  </a:extLst>
                </p:cNvPr>
                <p:cNvSpPr/>
                <p:nvPr userDrawn="1"/>
              </p:nvSpPr>
              <p:spPr>
                <a:xfrm>
                  <a:off x="5461159" y="4042300"/>
                  <a:ext cx="248683" cy="247416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365B4DCA-D063-1174-C586-CF3A5513F0D7}"/>
                    </a:ext>
                  </a:extLst>
                </p:cNvPr>
                <p:cNvSpPr/>
                <p:nvPr userDrawn="1"/>
              </p:nvSpPr>
              <p:spPr>
                <a:xfrm>
                  <a:off x="9060115" y="5636857"/>
                  <a:ext cx="364428" cy="358137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E35D5AA5-0F43-3C1F-23E1-10DE0988450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2843825" y="2011837"/>
                  <a:ext cx="1332000" cy="882000"/>
                </a:xfrm>
                <a:prstGeom prst="line">
                  <a:avLst/>
                </a:prstGeom>
                <a:ln w="12700">
                  <a:solidFill>
                    <a:schemeClr val="accent2">
                      <a:alpha val="25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11DD8DD1-489F-F7EA-9087-426EBC9D467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3214687" y="3108827"/>
                  <a:ext cx="972000" cy="1278000"/>
                </a:xfrm>
                <a:prstGeom prst="line">
                  <a:avLst/>
                </a:prstGeom>
                <a:ln w="12700">
                  <a:solidFill>
                    <a:schemeClr val="accent2">
                      <a:alpha val="25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4D8BC612-8C60-28CB-E8D6-4839FA966075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2843825" y="4289599"/>
                  <a:ext cx="151207" cy="145356"/>
                </a:xfrm>
                <a:prstGeom prst="line">
                  <a:avLst/>
                </a:prstGeom>
                <a:ln w="12700">
                  <a:solidFill>
                    <a:schemeClr val="accent2">
                      <a:alpha val="25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3455B08D-1A11-0560-F174-56FA6CC006A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6265290" y="4820541"/>
                  <a:ext cx="1047617" cy="1135243"/>
                </a:xfrm>
                <a:prstGeom prst="line">
                  <a:avLst/>
                </a:prstGeom>
                <a:ln w="12700">
                  <a:solidFill>
                    <a:schemeClr val="accent2">
                      <a:alpha val="25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6CC6ABBC-8F4C-DAF9-94F0-A6526E8DAEC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7751072" y="5830205"/>
                  <a:ext cx="1297135" cy="143007"/>
                </a:xfrm>
                <a:prstGeom prst="line">
                  <a:avLst/>
                </a:prstGeom>
                <a:ln w="12700">
                  <a:solidFill>
                    <a:schemeClr val="accent2">
                      <a:alpha val="25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40A5D79E-C917-2650-64AF-13B79B97A8B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 flipV="1">
                  <a:off x="7593307" y="4746273"/>
                  <a:ext cx="1505900" cy="966829"/>
                </a:xfrm>
                <a:prstGeom prst="line">
                  <a:avLst/>
                </a:prstGeom>
                <a:ln w="12700">
                  <a:solidFill>
                    <a:schemeClr val="accent2">
                      <a:alpha val="25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4C2E41B5-25B6-2711-3883-551EC228839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5739720" y="4183380"/>
                  <a:ext cx="1522140" cy="468000"/>
                </a:xfrm>
                <a:prstGeom prst="line">
                  <a:avLst/>
                </a:prstGeom>
                <a:ln w="12700">
                  <a:solidFill>
                    <a:schemeClr val="accent2">
                      <a:alpha val="25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317C2156-5426-869D-42C7-4BDACFBEE9B1}"/>
                  </a:ext>
                </a:extLst>
              </p:cNvPr>
              <p:cNvCxnSpPr>
                <a:cxnSpLocks/>
                <a:stCxn id="24" idx="5"/>
                <a:endCxn id="25" idx="1"/>
              </p:cNvCxnSpPr>
              <p:nvPr userDrawn="1"/>
            </p:nvCxnSpPr>
            <p:spPr>
              <a:xfrm>
                <a:off x="1589265" y="4013839"/>
                <a:ext cx="1043448" cy="966911"/>
              </a:xfrm>
              <a:prstGeom prst="line">
                <a:avLst/>
              </a:prstGeom>
              <a:ln w="12700">
                <a:solidFill>
                  <a:schemeClr val="accent2">
                    <a:alpha val="25000"/>
                  </a:schemeClr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A44AE7D1-B5D3-2B31-EEE0-D1ADE502F64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1983537" y="5127790"/>
                <a:ext cx="612000" cy="900001"/>
              </a:xfrm>
              <a:prstGeom prst="line">
                <a:avLst/>
              </a:prstGeom>
              <a:ln w="12700">
                <a:solidFill>
                  <a:schemeClr val="accent2">
                    <a:alpha val="25000"/>
                  </a:schemeClr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E73222C-DCE0-747B-5FF5-27D71415640A}"/>
              </a:ext>
            </a:extLst>
          </p:cNvPr>
          <p:cNvGrpSpPr/>
          <p:nvPr userDrawn="1"/>
        </p:nvGrpSpPr>
        <p:grpSpPr>
          <a:xfrm rot="5400000">
            <a:off x="-173546" y="156398"/>
            <a:ext cx="1736394" cy="1404555"/>
            <a:chOff x="1253718" y="3708148"/>
            <a:chExt cx="3470376" cy="2807523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43ECF14B-6304-014B-C76E-F90B9A9F51A2}"/>
                </a:ext>
              </a:extLst>
            </p:cNvPr>
            <p:cNvCxnSpPr>
              <a:cxnSpLocks/>
              <a:stCxn id="42" idx="5"/>
            </p:cNvCxnSpPr>
            <p:nvPr userDrawn="1"/>
          </p:nvCxnSpPr>
          <p:spPr>
            <a:xfrm rot="16200000" flipH="1">
              <a:off x="2041973" y="6258704"/>
              <a:ext cx="188923" cy="300053"/>
            </a:xfrm>
            <a:prstGeom prst="line">
              <a:avLst/>
            </a:prstGeom>
            <a:ln w="12700">
              <a:solidFill>
                <a:srgbClr val="007483">
                  <a:alpha val="25000"/>
                </a:srgb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C4A5924-D81A-3C14-1251-DEBDB2C2DFAB}"/>
                </a:ext>
              </a:extLst>
            </p:cNvPr>
            <p:cNvCxnSpPr>
              <a:cxnSpLocks/>
            </p:cNvCxnSpPr>
            <p:nvPr userDrawn="1"/>
          </p:nvCxnSpPr>
          <p:spPr>
            <a:xfrm rot="16200000" flipH="1" flipV="1">
              <a:off x="1390211" y="6126363"/>
              <a:ext cx="175233" cy="420591"/>
            </a:xfrm>
            <a:prstGeom prst="line">
              <a:avLst/>
            </a:prstGeom>
            <a:ln w="12700">
              <a:solidFill>
                <a:srgbClr val="007483">
                  <a:alpha val="25000"/>
                </a:srgb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A4CC3C3B-A355-7DC9-A79C-E32198E1A0F4}"/>
                </a:ext>
              </a:extLst>
            </p:cNvPr>
            <p:cNvCxnSpPr>
              <a:cxnSpLocks/>
            </p:cNvCxnSpPr>
            <p:nvPr userDrawn="1"/>
          </p:nvCxnSpPr>
          <p:spPr>
            <a:xfrm rot="16200000" flipV="1">
              <a:off x="1360668" y="5788995"/>
              <a:ext cx="214153" cy="428054"/>
            </a:xfrm>
            <a:prstGeom prst="line">
              <a:avLst/>
            </a:prstGeom>
            <a:ln w="12700">
              <a:solidFill>
                <a:srgbClr val="007483">
                  <a:alpha val="25000"/>
                </a:srgb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B8A40C22-79C3-4F52-C73F-418F2BF331E4}"/>
                </a:ext>
              </a:extLst>
            </p:cNvPr>
            <p:cNvGrpSpPr/>
            <p:nvPr userDrawn="1"/>
          </p:nvGrpSpPr>
          <p:grpSpPr>
            <a:xfrm>
              <a:off x="1253718" y="3708148"/>
              <a:ext cx="3470376" cy="2807523"/>
              <a:chOff x="1253718" y="3708148"/>
              <a:chExt cx="3470376" cy="2807523"/>
            </a:xfrm>
          </p:grpSpPr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7F653842-265F-DB1C-16BD-C091907D4F0C}"/>
                  </a:ext>
                </a:extLst>
              </p:cNvPr>
              <p:cNvGrpSpPr/>
              <p:nvPr userDrawn="1"/>
            </p:nvGrpSpPr>
            <p:grpSpPr>
              <a:xfrm>
                <a:off x="1253718" y="3708148"/>
                <a:ext cx="3470376" cy="2807523"/>
                <a:chOff x="4118583" y="2805932"/>
                <a:chExt cx="3470376" cy="2807523"/>
              </a:xfrm>
            </p:grpSpPr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7C38645D-A984-F7FE-4A7B-E502ED2E2674}"/>
                    </a:ext>
                  </a:extLst>
                </p:cNvPr>
                <p:cNvSpPr/>
                <p:nvPr userDrawn="1"/>
              </p:nvSpPr>
              <p:spPr>
                <a:xfrm>
                  <a:off x="4512981" y="5079511"/>
                  <a:ext cx="396334" cy="389597"/>
                </a:xfrm>
                <a:prstGeom prst="ellipse">
                  <a:avLst/>
                </a:prstGeom>
                <a:noFill/>
                <a:ln w="28575">
                  <a:solidFill>
                    <a:srgbClr val="007483">
                      <a:alpha val="49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BF11C3B3-2CFE-EC82-0527-B7B76F7BED33}"/>
                    </a:ext>
                  </a:extLst>
                </p:cNvPr>
                <p:cNvSpPr/>
                <p:nvPr userDrawn="1"/>
              </p:nvSpPr>
              <p:spPr>
                <a:xfrm>
                  <a:off x="6397435" y="4675576"/>
                  <a:ext cx="359999" cy="358139"/>
                </a:xfrm>
                <a:prstGeom prst="ellipse">
                  <a:avLst/>
                </a:prstGeom>
                <a:noFill/>
                <a:ln w="28575">
                  <a:solidFill>
                    <a:srgbClr val="007483">
                      <a:alpha val="49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D13D4A90-14B9-ACD0-D734-029E40F052FA}"/>
                    </a:ext>
                  </a:extLst>
                </p:cNvPr>
                <p:cNvSpPr/>
                <p:nvPr userDrawn="1"/>
              </p:nvSpPr>
              <p:spPr>
                <a:xfrm>
                  <a:off x="4146853" y="2805932"/>
                  <a:ext cx="360000" cy="358140"/>
                </a:xfrm>
                <a:prstGeom prst="ellipse">
                  <a:avLst/>
                </a:prstGeom>
                <a:noFill/>
                <a:ln w="28575">
                  <a:solidFill>
                    <a:srgbClr val="007483">
                      <a:alpha val="49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B5EA5919-3522-2A7A-4B0D-D74FBE0853F0}"/>
                    </a:ext>
                  </a:extLst>
                </p:cNvPr>
                <p:cNvSpPr/>
                <p:nvPr userDrawn="1"/>
              </p:nvSpPr>
              <p:spPr>
                <a:xfrm>
                  <a:off x="5461159" y="4042300"/>
                  <a:ext cx="248683" cy="247416"/>
                </a:xfrm>
                <a:prstGeom prst="ellipse">
                  <a:avLst/>
                </a:prstGeom>
                <a:noFill/>
                <a:ln w="28575">
                  <a:solidFill>
                    <a:srgbClr val="007483">
                      <a:alpha val="49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46" name="Straight Connector 45">
                  <a:extLst>
                    <a:ext uri="{FF2B5EF4-FFF2-40B4-BE49-F238E27FC236}">
                      <a16:creationId xmlns:a16="http://schemas.microsoft.com/office/drawing/2014/main" id="{0C6F6916-807B-865A-58CF-F9B99F6499E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H="1">
                  <a:off x="4128573" y="2846585"/>
                  <a:ext cx="37261" cy="57242"/>
                </a:xfrm>
                <a:prstGeom prst="line">
                  <a:avLst/>
                </a:prstGeom>
                <a:ln w="12700">
                  <a:solidFill>
                    <a:srgbClr val="007483">
                      <a:alpha val="25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Straight Connector 46">
                  <a:extLst>
                    <a:ext uri="{FF2B5EF4-FFF2-40B4-BE49-F238E27FC236}">
                      <a16:creationId xmlns:a16="http://schemas.microsoft.com/office/drawing/2014/main" id="{861E44A8-4D87-7C4C-027E-1956A90D4289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H="1" flipV="1">
                  <a:off x="4125013" y="3102397"/>
                  <a:ext cx="55245" cy="68105"/>
                </a:xfrm>
                <a:prstGeom prst="line">
                  <a:avLst/>
                </a:prstGeom>
                <a:ln w="12700">
                  <a:solidFill>
                    <a:srgbClr val="007483">
                      <a:alpha val="25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Straight Connector 47">
                  <a:extLst>
                    <a:ext uri="{FF2B5EF4-FFF2-40B4-BE49-F238E27FC236}">
                      <a16:creationId xmlns:a16="http://schemas.microsoft.com/office/drawing/2014/main" id="{7D9F4D62-A2D2-4047-595D-A0EA1877649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H="1" flipV="1">
                  <a:off x="5940658" y="5073498"/>
                  <a:ext cx="616957" cy="462958"/>
                </a:xfrm>
                <a:prstGeom prst="line">
                  <a:avLst/>
                </a:prstGeom>
                <a:ln w="12700">
                  <a:solidFill>
                    <a:srgbClr val="007483">
                      <a:alpha val="25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Straight Connector 48">
                  <a:extLst>
                    <a:ext uri="{FF2B5EF4-FFF2-40B4-BE49-F238E27FC236}">
                      <a16:creationId xmlns:a16="http://schemas.microsoft.com/office/drawing/2014/main" id="{65F98CEC-C91E-3577-47F2-DCF8B5D53565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V="1">
                  <a:off x="6827187" y="4836437"/>
                  <a:ext cx="642561" cy="880982"/>
                </a:xfrm>
                <a:prstGeom prst="line">
                  <a:avLst/>
                </a:prstGeom>
                <a:ln w="12700">
                  <a:solidFill>
                    <a:srgbClr val="007483">
                      <a:alpha val="25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Straight Connector 49">
                  <a:extLst>
                    <a:ext uri="{FF2B5EF4-FFF2-40B4-BE49-F238E27FC236}">
                      <a16:creationId xmlns:a16="http://schemas.microsoft.com/office/drawing/2014/main" id="{A4E01646-822F-8A98-531F-E78194510974}"/>
                    </a:ext>
                  </a:extLst>
                </p:cNvPr>
                <p:cNvCxnSpPr>
                  <a:cxnSpLocks/>
                  <a:endCxn id="43" idx="1"/>
                </p:cNvCxnSpPr>
                <p:nvPr userDrawn="1"/>
              </p:nvCxnSpPr>
              <p:spPr>
                <a:xfrm rot="16200000" flipH="1">
                  <a:off x="5825518" y="4103387"/>
                  <a:ext cx="494325" cy="754951"/>
                </a:xfrm>
                <a:prstGeom prst="line">
                  <a:avLst/>
                </a:prstGeom>
                <a:ln w="12700">
                  <a:solidFill>
                    <a:srgbClr val="007483">
                      <a:alpha val="25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F312339C-6909-9FD3-07EF-FF49F8EDC09D}"/>
                  </a:ext>
                </a:extLst>
              </p:cNvPr>
              <p:cNvCxnSpPr>
                <a:cxnSpLocks/>
                <a:stCxn id="44" idx="5"/>
                <a:endCxn id="45" idx="1"/>
              </p:cNvCxnSpPr>
              <p:nvPr userDrawn="1"/>
            </p:nvCxnSpPr>
            <p:spPr>
              <a:xfrm>
                <a:off x="1589265" y="4013839"/>
                <a:ext cx="1043448" cy="966911"/>
              </a:xfrm>
              <a:prstGeom prst="line">
                <a:avLst/>
              </a:prstGeom>
              <a:ln w="12700">
                <a:solidFill>
                  <a:srgbClr val="007483">
                    <a:alpha val="25000"/>
                  </a:srgbClr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697434D9-D791-FAE8-A225-16509A8B72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1983537" y="5127790"/>
                <a:ext cx="612000" cy="900001"/>
              </a:xfrm>
              <a:prstGeom prst="line">
                <a:avLst/>
              </a:prstGeom>
              <a:ln w="12700">
                <a:solidFill>
                  <a:srgbClr val="007483">
                    <a:alpha val="25000"/>
                  </a:srgbClr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8F07A45F-1C03-A840-EDB1-59ADC49CFA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336" y="33265"/>
            <a:ext cx="11021533" cy="11795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97209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395A09-771A-8E82-E971-0429E6A528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6336" y="1498600"/>
            <a:ext cx="11041179" cy="471938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6A9562-2F5C-DE9F-5AFD-E2F26969D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444BBC-7D5C-4531-A4CB-642B5E5F9728}" type="datetime1">
              <a:rPr lang="en-US" smtClean="0"/>
              <a:t>5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1ABF10-1E3B-C9C0-FF1C-5F5BBEEC07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21E7B-EBD8-C178-7ECD-6101E9DED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96EACB7-B972-26BC-334F-00E118154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336" y="33265"/>
            <a:ext cx="11021533" cy="11795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68836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9126C-44FB-6E67-B297-1BE9C5736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833D87-AC32-7B9B-B44E-569FA4F2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FEFC9E96-3F33-4BD3-9839-AD4394FAFC6F}" type="datetime1">
              <a:rPr lang="en-US" smtClean="0"/>
              <a:pPr/>
              <a:t>5/21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DDBE3-2DB1-6163-861C-C57A37FBE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F48E36-B11D-4770-8396-6D4BA555E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649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62048E-A381-676B-CA03-C792FD07C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4AA889D9-B7BB-4147-B7F0-FB44889D7F26}" type="datetime1">
              <a:rPr lang="en-US" smtClean="0"/>
              <a:pPr/>
              <a:t>5/2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FE89BC-C6C6-1F2A-2CBC-A1E4BD95C9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DBEBDA-0796-92E6-00C2-F6FFC0D79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2552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BAA567-433A-2C6E-9C1B-313B2836CF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61F83E18-D611-49FA-B4BE-76358EDDBF6D}" type="datetime1">
              <a:rPr lang="en-US" smtClean="0"/>
              <a:pPr/>
              <a:t>5/21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C1EB32-7C56-C688-C809-04D8FEBB7F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239DCC-E248-DD39-86CE-16935AF82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1078749-E2AE-DD01-5D5A-77C01A45DF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7239" y="1524747"/>
            <a:ext cx="5004836" cy="4779766"/>
          </a:xfrm>
          <a:ln w="19050">
            <a:solidFill>
              <a:srgbClr val="007483"/>
            </a:solidFill>
          </a:ln>
        </p:spPr>
        <p:txBody>
          <a:bodyPr tIns="36000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D8C53BF-2066-47EA-FCDC-D0A541605C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8752" y="1258748"/>
            <a:ext cx="3352825" cy="523220"/>
          </a:xfrm>
          <a:solidFill>
            <a:schemeClr val="bg1"/>
          </a:solidFill>
          <a:ln w="19050">
            <a:solidFill>
              <a:srgbClr val="007483"/>
            </a:solidFill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Box title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E7E15364-F49B-8C7C-1864-AE85A4BA5B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89925" y="1523505"/>
            <a:ext cx="5004836" cy="4779766"/>
          </a:xfrm>
          <a:ln w="19050">
            <a:solidFill>
              <a:srgbClr val="007483"/>
            </a:solidFill>
          </a:ln>
        </p:spPr>
        <p:txBody>
          <a:bodyPr tIns="36000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E420E102-B0C6-B20F-7D6C-FB4E3543DC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35726" y="1257506"/>
            <a:ext cx="3352825" cy="523220"/>
          </a:xfrm>
          <a:solidFill>
            <a:schemeClr val="bg1"/>
          </a:solidFill>
          <a:ln w="19050">
            <a:solidFill>
              <a:srgbClr val="007483"/>
            </a:solidFill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Box titl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0BDCC4C-C6B0-AF0C-96E0-93062976C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336" y="33265"/>
            <a:ext cx="11021533" cy="11795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59959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BAA567-433A-2C6E-9C1B-313B2836CF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61F83E18-D611-49FA-B4BE-76358EDDBF6D}" type="datetime1">
              <a:rPr lang="en-US" smtClean="0"/>
              <a:pPr/>
              <a:t>5/2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C1EB32-7C56-C688-C809-04D8FEBB7F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239DCC-E248-DD39-86CE-16935AF82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1078749-E2AE-DD01-5D5A-77C01A45DF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7239" y="1524747"/>
            <a:ext cx="3510000" cy="4779766"/>
          </a:xfrm>
          <a:ln w="19050">
            <a:solidFill>
              <a:srgbClr val="007483"/>
            </a:solidFill>
          </a:ln>
        </p:spPr>
        <p:txBody>
          <a:bodyPr tIns="36000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D8C53BF-2066-47EA-FCDC-D0A541605C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2239" y="1264650"/>
            <a:ext cx="2340000" cy="523220"/>
          </a:xfrm>
          <a:solidFill>
            <a:schemeClr val="bg1"/>
          </a:solidFill>
          <a:ln w="19050">
            <a:solidFill>
              <a:srgbClr val="007483"/>
            </a:solidFill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Box title</a:t>
            </a:r>
          </a:p>
        </p:txBody>
      </p:sp>
      <p:sp>
        <p:nvSpPr>
          <p:cNvPr id="3" name="Text Placeholder 17">
            <a:extLst>
              <a:ext uri="{FF2B5EF4-FFF2-40B4-BE49-F238E27FC236}">
                <a16:creationId xmlns:a16="http://schemas.microsoft.com/office/drawing/2014/main" id="{58EB9DD7-A97B-62A5-9FCE-1628B604DE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84763" y="1531891"/>
            <a:ext cx="3510000" cy="4779766"/>
          </a:xfrm>
          <a:ln w="19050">
            <a:solidFill>
              <a:srgbClr val="007483"/>
            </a:solidFill>
          </a:ln>
        </p:spPr>
        <p:txBody>
          <a:bodyPr tIns="36000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68240291-9437-8941-78CF-CE804C2047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69763" y="1271794"/>
            <a:ext cx="2340000" cy="523220"/>
          </a:xfrm>
          <a:solidFill>
            <a:schemeClr val="bg1"/>
          </a:solidFill>
          <a:ln w="19050">
            <a:solidFill>
              <a:srgbClr val="007483"/>
            </a:solidFill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Box title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F0D75A94-D108-D977-475D-760F6A3280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41001" y="1524747"/>
            <a:ext cx="3510000" cy="4779766"/>
          </a:xfrm>
          <a:ln w="19050">
            <a:solidFill>
              <a:srgbClr val="007483"/>
            </a:solidFill>
          </a:ln>
        </p:spPr>
        <p:txBody>
          <a:bodyPr tIns="36000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19">
            <a:extLst>
              <a:ext uri="{FF2B5EF4-FFF2-40B4-BE49-F238E27FC236}">
                <a16:creationId xmlns:a16="http://schemas.microsoft.com/office/drawing/2014/main" id="{80934795-EDDD-0A4C-128E-3DB8AA8D51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26001" y="1264650"/>
            <a:ext cx="2340000" cy="523220"/>
          </a:xfrm>
          <a:solidFill>
            <a:schemeClr val="bg1"/>
          </a:solidFill>
          <a:ln w="19050">
            <a:solidFill>
              <a:srgbClr val="007483"/>
            </a:solidFill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Box 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47B38656-A90D-02E0-CDDF-A9760A149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336" y="33265"/>
            <a:ext cx="11021533" cy="11795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45047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Elements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833D87-AC32-7B9B-B44E-569FA4F2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FEFC9E96-3F33-4BD3-9839-AD4394FAFC6F}" type="datetime1">
              <a:rPr lang="en-US" smtClean="0"/>
              <a:pPr/>
              <a:t>5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DDBE3-2DB1-6163-861C-C57A37FBE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F48E36-B11D-4770-8396-6D4BA555E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373DE1B-2B66-696F-CC36-BDCE8FACB5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0000" y="2505886"/>
            <a:ext cx="10692000" cy="1080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E2C0536-48D2-E954-D572-7EA333397B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0000" y="3817083"/>
            <a:ext cx="10692000" cy="1080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65B4DBE-940E-CC07-16A8-D62ECEA314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0000" y="5128280"/>
            <a:ext cx="10692000" cy="1080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99D7C9AE-4E3F-3A0F-6555-16A456E000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52269" y="1442224"/>
            <a:ext cx="10004425" cy="828675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B2AC1E50-7A0C-1AEF-8332-3B188DB16F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336" y="33265"/>
            <a:ext cx="11021533" cy="11795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423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15263C7C-21B6-6DC3-9279-2E56E3CFCA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447210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84" imgH="486" progId="TCLayout.ActiveDocument.1">
                  <p:embed/>
                </p:oleObj>
              </mc:Choice>
              <mc:Fallback>
                <p:oleObj name="think-cell Slide" r:id="rId25" imgW="484" imgH="486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263C7C-21B6-6DC3-9279-2E56E3CFCA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C35EC8B-D49E-58DF-71F8-7C8B8E4F4F04}"/>
              </a:ext>
            </a:extLst>
          </p:cNvPr>
          <p:cNvGrpSpPr/>
          <p:nvPr userDrawn="1"/>
        </p:nvGrpSpPr>
        <p:grpSpPr>
          <a:xfrm>
            <a:off x="-6140" y="4878000"/>
            <a:ext cx="3298789" cy="1992706"/>
            <a:chOff x="-33312" y="2914053"/>
            <a:chExt cx="6592990" cy="3983157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AD91AEF9-5E3D-EC41-7FF4-6F060C52742F}"/>
                </a:ext>
              </a:extLst>
            </p:cNvPr>
            <p:cNvCxnSpPr>
              <a:cxnSpLocks/>
              <a:stCxn id="13" idx="5"/>
            </p:cNvCxnSpPr>
            <p:nvPr userDrawn="1"/>
          </p:nvCxnSpPr>
          <p:spPr>
            <a:xfrm>
              <a:off x="1986409" y="6314268"/>
              <a:ext cx="937781" cy="562769"/>
            </a:xfrm>
            <a:prstGeom prst="line">
              <a:avLst/>
            </a:prstGeom>
            <a:ln w="12700">
              <a:solidFill>
                <a:schemeClr val="accent2">
                  <a:alpha val="11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8573ECBC-1116-4C4B-2C7A-4544F4417E4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35081" y="6249040"/>
              <a:ext cx="1553042" cy="608960"/>
            </a:xfrm>
            <a:prstGeom prst="line">
              <a:avLst/>
            </a:prstGeom>
            <a:ln w="12700">
              <a:solidFill>
                <a:schemeClr val="accent2">
                  <a:alpha val="11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62BCC2C7-4CB5-D4D1-019B-B9761F420DE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3312" y="5538351"/>
              <a:ext cx="255414" cy="702250"/>
            </a:xfrm>
            <a:prstGeom prst="line">
              <a:avLst/>
            </a:prstGeom>
            <a:ln w="12700">
              <a:solidFill>
                <a:schemeClr val="accent2">
                  <a:alpha val="11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FCD7DDC3-16B9-3F62-D4C0-4BD051D263C8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377422" y="5480566"/>
              <a:ext cx="1304351" cy="629530"/>
            </a:xfrm>
            <a:prstGeom prst="line">
              <a:avLst/>
            </a:prstGeom>
            <a:ln w="12700">
              <a:solidFill>
                <a:schemeClr val="accent2">
                  <a:alpha val="11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A8BA8203-5093-8D95-E230-D9138478C542}"/>
                </a:ext>
              </a:extLst>
            </p:cNvPr>
            <p:cNvGrpSpPr/>
            <p:nvPr userDrawn="1"/>
          </p:nvGrpSpPr>
          <p:grpSpPr>
            <a:xfrm>
              <a:off x="-21040" y="2914053"/>
              <a:ext cx="6580718" cy="3983157"/>
              <a:chOff x="-21040" y="2914053"/>
              <a:chExt cx="6580718" cy="3983157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1317FB0C-A2DE-678F-EC01-2EF8DE3ABF16}"/>
                  </a:ext>
                </a:extLst>
              </p:cNvPr>
              <p:cNvGrpSpPr/>
              <p:nvPr userDrawn="1"/>
            </p:nvGrpSpPr>
            <p:grpSpPr>
              <a:xfrm>
                <a:off x="-21040" y="2914053"/>
                <a:ext cx="6580718" cy="3983157"/>
                <a:chOff x="2843825" y="2011837"/>
                <a:chExt cx="6580718" cy="3983157"/>
              </a:xfrm>
            </p:grpSpPr>
            <p:sp>
              <p:nvSpPr>
                <p:cNvPr id="13" name="Oval 12">
                  <a:extLst>
                    <a:ext uri="{FF2B5EF4-FFF2-40B4-BE49-F238E27FC236}">
                      <a16:creationId xmlns:a16="http://schemas.microsoft.com/office/drawing/2014/main" id="{A326CF70-899B-A2E0-C7EA-137C1ECF32DB}"/>
                    </a:ext>
                  </a:extLst>
                </p:cNvPr>
                <p:cNvSpPr/>
                <p:nvPr userDrawn="1"/>
              </p:nvSpPr>
              <p:spPr>
                <a:xfrm>
                  <a:off x="4512981" y="5079511"/>
                  <a:ext cx="396334" cy="389597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" name="Oval 13">
                  <a:extLst>
                    <a:ext uri="{FF2B5EF4-FFF2-40B4-BE49-F238E27FC236}">
                      <a16:creationId xmlns:a16="http://schemas.microsoft.com/office/drawing/2014/main" id="{F5CA56B0-8C3C-83F6-CE6A-78B4DBF4ACBA}"/>
                    </a:ext>
                  </a:extLst>
                </p:cNvPr>
                <p:cNvSpPr/>
                <p:nvPr userDrawn="1"/>
              </p:nvSpPr>
              <p:spPr>
                <a:xfrm>
                  <a:off x="2995789" y="4393565"/>
                  <a:ext cx="248979" cy="242571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70FC4244-9AA9-7438-7A1C-0973F689ABEB}"/>
                    </a:ext>
                  </a:extLst>
                </p:cNvPr>
                <p:cNvSpPr/>
                <p:nvPr userDrawn="1"/>
              </p:nvSpPr>
              <p:spPr>
                <a:xfrm>
                  <a:off x="7261860" y="4514850"/>
                  <a:ext cx="360000" cy="358140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Oval 17">
                  <a:extLst>
                    <a:ext uri="{FF2B5EF4-FFF2-40B4-BE49-F238E27FC236}">
                      <a16:creationId xmlns:a16="http://schemas.microsoft.com/office/drawing/2014/main" id="{2C11F7D1-5793-CA74-96DB-DAB76531C913}"/>
                    </a:ext>
                  </a:extLst>
                </p:cNvPr>
                <p:cNvSpPr/>
                <p:nvPr userDrawn="1"/>
              </p:nvSpPr>
              <p:spPr>
                <a:xfrm>
                  <a:off x="4146853" y="2805932"/>
                  <a:ext cx="360000" cy="358140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C3D8BD85-7229-6731-834D-381E1DEC1AFC}"/>
                    </a:ext>
                  </a:extLst>
                </p:cNvPr>
                <p:cNvSpPr/>
                <p:nvPr userDrawn="1"/>
              </p:nvSpPr>
              <p:spPr>
                <a:xfrm>
                  <a:off x="5461159" y="4042300"/>
                  <a:ext cx="248683" cy="247416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7E92C8BB-5593-D19F-60E0-F5D0A91FB646}"/>
                    </a:ext>
                  </a:extLst>
                </p:cNvPr>
                <p:cNvSpPr/>
                <p:nvPr userDrawn="1"/>
              </p:nvSpPr>
              <p:spPr>
                <a:xfrm>
                  <a:off x="9060115" y="5636857"/>
                  <a:ext cx="364428" cy="358137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83BB3805-1A2F-5F30-51C9-B9DFF4FA5FC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2843825" y="2011837"/>
                  <a:ext cx="1332000" cy="882000"/>
                </a:xfrm>
                <a:prstGeom prst="line">
                  <a:avLst/>
                </a:prstGeom>
                <a:ln w="12700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8C12FF73-C845-2C13-B818-DCDD2458A60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3214687" y="3108827"/>
                  <a:ext cx="972000" cy="1278000"/>
                </a:xfrm>
                <a:prstGeom prst="line">
                  <a:avLst/>
                </a:prstGeom>
                <a:ln w="12700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Straight Connector 44">
                  <a:extLst>
                    <a:ext uri="{FF2B5EF4-FFF2-40B4-BE49-F238E27FC236}">
                      <a16:creationId xmlns:a16="http://schemas.microsoft.com/office/drawing/2014/main" id="{B91B6BB2-E319-7AC2-72CA-3B071C182B2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2843825" y="4289599"/>
                  <a:ext cx="151207" cy="145356"/>
                </a:xfrm>
                <a:prstGeom prst="line">
                  <a:avLst/>
                </a:prstGeom>
                <a:ln w="12700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Straight Connector 48">
                  <a:extLst>
                    <a:ext uri="{FF2B5EF4-FFF2-40B4-BE49-F238E27FC236}">
                      <a16:creationId xmlns:a16="http://schemas.microsoft.com/office/drawing/2014/main" id="{4B172768-A723-B16D-0D90-A565AB29922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6265290" y="4820541"/>
                  <a:ext cx="1047617" cy="1135243"/>
                </a:xfrm>
                <a:prstGeom prst="line">
                  <a:avLst/>
                </a:prstGeom>
                <a:ln w="12700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Straight Connector 51">
                  <a:extLst>
                    <a:ext uri="{FF2B5EF4-FFF2-40B4-BE49-F238E27FC236}">
                      <a16:creationId xmlns:a16="http://schemas.microsoft.com/office/drawing/2014/main" id="{7FB8E79D-DC5C-CB01-4D1C-FCFDCA0D04C5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7751072" y="5830205"/>
                  <a:ext cx="1297135" cy="143007"/>
                </a:xfrm>
                <a:prstGeom prst="line">
                  <a:avLst/>
                </a:prstGeom>
                <a:ln w="12700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Straight Connector 54">
                  <a:extLst>
                    <a:ext uri="{FF2B5EF4-FFF2-40B4-BE49-F238E27FC236}">
                      <a16:creationId xmlns:a16="http://schemas.microsoft.com/office/drawing/2014/main" id="{DE41FF09-7253-573C-7B9F-E760572FAC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 flipV="1">
                  <a:off x="7593307" y="4746273"/>
                  <a:ext cx="1505900" cy="966829"/>
                </a:xfrm>
                <a:prstGeom prst="line">
                  <a:avLst/>
                </a:prstGeom>
                <a:ln w="12700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Straight Connector 59">
                  <a:extLst>
                    <a:ext uri="{FF2B5EF4-FFF2-40B4-BE49-F238E27FC236}">
                      <a16:creationId xmlns:a16="http://schemas.microsoft.com/office/drawing/2014/main" id="{DAF16761-C539-E80B-F2D7-A7685AD1327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5739720" y="4183380"/>
                  <a:ext cx="1522140" cy="468000"/>
                </a:xfrm>
                <a:prstGeom prst="line">
                  <a:avLst/>
                </a:prstGeom>
                <a:ln w="12700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6521D0B1-38F4-E222-4A79-500F51F66FEE}"/>
                  </a:ext>
                </a:extLst>
              </p:cNvPr>
              <p:cNvCxnSpPr>
                <a:cxnSpLocks/>
                <a:stCxn id="18" idx="5"/>
                <a:endCxn id="21" idx="1"/>
              </p:cNvCxnSpPr>
              <p:nvPr userDrawn="1"/>
            </p:nvCxnSpPr>
            <p:spPr>
              <a:xfrm>
                <a:off x="1589265" y="4013839"/>
                <a:ext cx="1043448" cy="966911"/>
              </a:xfrm>
              <a:prstGeom prst="line">
                <a:avLst/>
              </a:prstGeom>
              <a:ln w="12700">
                <a:solidFill>
                  <a:schemeClr val="accent2">
                    <a:alpha val="11000"/>
                  </a:schemeClr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B3857924-0E25-FD7F-C1FC-5DD8533F0F4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1983537" y="5127790"/>
                <a:ext cx="612000" cy="900001"/>
              </a:xfrm>
              <a:prstGeom prst="line">
                <a:avLst/>
              </a:prstGeom>
              <a:ln w="12700">
                <a:solidFill>
                  <a:schemeClr val="accent2">
                    <a:alpha val="11000"/>
                  </a:schemeClr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389584D-FF5F-3CB5-7819-9A77EDD2B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336" y="33265"/>
            <a:ext cx="11021533" cy="11795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803E79-F079-2C5E-67A6-11A56A2699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6336" y="1874149"/>
            <a:ext cx="11021533" cy="4351338"/>
          </a:xfrm>
          <a:prstGeom prst="rect">
            <a:avLst/>
          </a:prstGeom>
          <a:ln w="28575"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24E7C0-654C-4C7F-F296-585DDA13F4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272" y="6346841"/>
            <a:ext cx="9243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ED7D31"/>
                </a:solidFill>
              </a:defRPr>
            </a:lvl1pPr>
          </a:lstStyle>
          <a:p>
            <a:fld id="{55166E07-78DE-413E-81B3-7A4851EA5568}" type="datetime1">
              <a:rPr lang="en-US" smtClean="0"/>
              <a:pPr/>
              <a:t>5/21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35F973-A41B-80C5-C9B9-B0D2CCF8B3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87788" y="6346840"/>
            <a:ext cx="90519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48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F408FE-BE4C-E310-6C0D-6641BA5052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8340" y="6351615"/>
            <a:ext cx="7183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rgbClr val="ED7D31"/>
                </a:solidFill>
              </a:defRPr>
            </a:lvl1pPr>
          </a:lstStyle>
          <a:p>
            <a:fld id="{02FC85DC-C967-44B4-A8D3-2E757E7AAD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 descr="Submission platform, Montefiore ULiege">
            <a:extLst>
              <a:ext uri="{FF2B5EF4-FFF2-40B4-BE49-F238E27FC236}">
                <a16:creationId xmlns:a16="http://schemas.microsoft.com/office/drawing/2014/main" id="{9EC4E259-FB70-0F0A-2FB9-8E69D633BE1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193"/>
          <a:stretch/>
        </p:blipFill>
        <p:spPr bwMode="auto">
          <a:xfrm>
            <a:off x="11328340" y="0"/>
            <a:ext cx="718350" cy="829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FF890FED-6984-1520-51FA-98AFF87DDCB9}"/>
              </a:ext>
            </a:extLst>
          </p:cNvPr>
          <p:cNvGrpSpPr/>
          <p:nvPr userDrawn="1"/>
        </p:nvGrpSpPr>
        <p:grpSpPr>
          <a:xfrm rot="5400000">
            <a:off x="-173546" y="156398"/>
            <a:ext cx="1736394" cy="1404555"/>
            <a:chOff x="1253718" y="3708148"/>
            <a:chExt cx="3470376" cy="2807523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5A8F3AC-7FCD-3DBA-FF9A-DB2BCE78BA6E}"/>
                </a:ext>
              </a:extLst>
            </p:cNvPr>
            <p:cNvCxnSpPr>
              <a:cxnSpLocks/>
              <a:stCxn id="25" idx="5"/>
            </p:cNvCxnSpPr>
            <p:nvPr userDrawn="1"/>
          </p:nvCxnSpPr>
          <p:spPr>
            <a:xfrm rot="16200000" flipH="1">
              <a:off x="2041973" y="6258704"/>
              <a:ext cx="188923" cy="300053"/>
            </a:xfrm>
            <a:prstGeom prst="line">
              <a:avLst/>
            </a:prstGeom>
            <a:ln w="12700">
              <a:solidFill>
                <a:srgbClr val="007483">
                  <a:alpha val="11000"/>
                </a:srgb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586DF1E-D5DD-1108-915B-3790C1DDA65F}"/>
                </a:ext>
              </a:extLst>
            </p:cNvPr>
            <p:cNvCxnSpPr>
              <a:cxnSpLocks/>
            </p:cNvCxnSpPr>
            <p:nvPr userDrawn="1"/>
          </p:nvCxnSpPr>
          <p:spPr>
            <a:xfrm rot="16200000" flipH="1" flipV="1">
              <a:off x="1390211" y="6126363"/>
              <a:ext cx="175233" cy="420591"/>
            </a:xfrm>
            <a:prstGeom prst="line">
              <a:avLst/>
            </a:prstGeom>
            <a:ln w="12700">
              <a:solidFill>
                <a:srgbClr val="007483">
                  <a:alpha val="11000"/>
                </a:srgb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5D3F0135-8816-1132-7972-3E82E7DA0240}"/>
                </a:ext>
              </a:extLst>
            </p:cNvPr>
            <p:cNvCxnSpPr>
              <a:cxnSpLocks/>
            </p:cNvCxnSpPr>
            <p:nvPr userDrawn="1"/>
          </p:nvCxnSpPr>
          <p:spPr>
            <a:xfrm rot="16200000" flipV="1">
              <a:off x="1360668" y="5788995"/>
              <a:ext cx="214153" cy="428054"/>
            </a:xfrm>
            <a:prstGeom prst="line">
              <a:avLst/>
            </a:prstGeom>
            <a:ln w="12700">
              <a:solidFill>
                <a:srgbClr val="007483">
                  <a:alpha val="11000"/>
                </a:srgb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EF7491C-E343-AE28-CE9B-9A7267D57821}"/>
                </a:ext>
              </a:extLst>
            </p:cNvPr>
            <p:cNvGrpSpPr/>
            <p:nvPr userDrawn="1"/>
          </p:nvGrpSpPr>
          <p:grpSpPr>
            <a:xfrm>
              <a:off x="1253718" y="3708148"/>
              <a:ext cx="3470376" cy="2807523"/>
              <a:chOff x="1253718" y="3708148"/>
              <a:chExt cx="3470376" cy="2807523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0D326098-B68A-CFB1-B6BB-DBD90449BA6F}"/>
                  </a:ext>
                </a:extLst>
              </p:cNvPr>
              <p:cNvGrpSpPr/>
              <p:nvPr userDrawn="1"/>
            </p:nvGrpSpPr>
            <p:grpSpPr>
              <a:xfrm>
                <a:off x="1253718" y="3708148"/>
                <a:ext cx="3470376" cy="2807523"/>
                <a:chOff x="4118583" y="2805932"/>
                <a:chExt cx="3470376" cy="2807523"/>
              </a:xfrm>
            </p:grpSpPr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5992D307-1CBB-58F1-601E-BE3877CF92F0}"/>
                    </a:ext>
                  </a:extLst>
                </p:cNvPr>
                <p:cNvSpPr/>
                <p:nvPr userDrawn="1"/>
              </p:nvSpPr>
              <p:spPr>
                <a:xfrm>
                  <a:off x="4512981" y="5079511"/>
                  <a:ext cx="396334" cy="389597"/>
                </a:xfrm>
                <a:prstGeom prst="ellipse">
                  <a:avLst/>
                </a:prstGeom>
                <a:noFill/>
                <a:ln w="28575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7" name="Oval 26">
                  <a:extLst>
                    <a:ext uri="{FF2B5EF4-FFF2-40B4-BE49-F238E27FC236}">
                      <a16:creationId xmlns:a16="http://schemas.microsoft.com/office/drawing/2014/main" id="{8473514E-34E1-4014-5584-FF4D1ECABDD8}"/>
                    </a:ext>
                  </a:extLst>
                </p:cNvPr>
                <p:cNvSpPr/>
                <p:nvPr userDrawn="1"/>
              </p:nvSpPr>
              <p:spPr>
                <a:xfrm>
                  <a:off x="6397435" y="4675576"/>
                  <a:ext cx="359999" cy="358139"/>
                </a:xfrm>
                <a:prstGeom prst="ellipse">
                  <a:avLst/>
                </a:prstGeom>
                <a:noFill/>
                <a:ln w="28575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B6C6A292-4A32-161E-CDBF-0CEFC8AD6D17}"/>
                    </a:ext>
                  </a:extLst>
                </p:cNvPr>
                <p:cNvSpPr/>
                <p:nvPr userDrawn="1"/>
              </p:nvSpPr>
              <p:spPr>
                <a:xfrm>
                  <a:off x="4146853" y="2805932"/>
                  <a:ext cx="360000" cy="358140"/>
                </a:xfrm>
                <a:prstGeom prst="ellipse">
                  <a:avLst/>
                </a:prstGeom>
                <a:noFill/>
                <a:ln w="28575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" name="Oval 28">
                  <a:extLst>
                    <a:ext uri="{FF2B5EF4-FFF2-40B4-BE49-F238E27FC236}">
                      <a16:creationId xmlns:a16="http://schemas.microsoft.com/office/drawing/2014/main" id="{BB3E3748-E970-D8D7-54CA-BC6AAEC4D2A2}"/>
                    </a:ext>
                  </a:extLst>
                </p:cNvPr>
                <p:cNvSpPr/>
                <p:nvPr userDrawn="1"/>
              </p:nvSpPr>
              <p:spPr>
                <a:xfrm>
                  <a:off x="5461159" y="4042300"/>
                  <a:ext cx="248683" cy="247416"/>
                </a:xfrm>
                <a:prstGeom prst="ellipse">
                  <a:avLst/>
                </a:prstGeom>
                <a:noFill/>
                <a:ln w="28575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4EEA9B48-231C-5A3F-E71F-74F5D46E8477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H="1">
                  <a:off x="4128573" y="2846585"/>
                  <a:ext cx="37261" cy="57242"/>
                </a:xfrm>
                <a:prstGeom prst="line">
                  <a:avLst/>
                </a:prstGeom>
                <a:ln w="12700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51078573-2B82-A447-6CA0-BC6E1AFD5C2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H="1" flipV="1">
                  <a:off x="4125013" y="3102397"/>
                  <a:ext cx="55245" cy="68105"/>
                </a:xfrm>
                <a:prstGeom prst="line">
                  <a:avLst/>
                </a:prstGeom>
                <a:ln w="12700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9CEAC3D6-C19E-16E0-39DF-82E82AE2C5B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H="1" flipV="1">
                  <a:off x="5940658" y="5073498"/>
                  <a:ext cx="616957" cy="462958"/>
                </a:xfrm>
                <a:prstGeom prst="line">
                  <a:avLst/>
                </a:prstGeom>
                <a:ln w="12700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2C6ACA81-F3AB-3A6F-146E-3F52B5EB81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V="1">
                  <a:off x="6827187" y="4836437"/>
                  <a:ext cx="642561" cy="880982"/>
                </a:xfrm>
                <a:prstGeom prst="line">
                  <a:avLst/>
                </a:prstGeom>
                <a:ln w="12700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Straight Connector 37">
                  <a:extLst>
                    <a:ext uri="{FF2B5EF4-FFF2-40B4-BE49-F238E27FC236}">
                      <a16:creationId xmlns:a16="http://schemas.microsoft.com/office/drawing/2014/main" id="{1762601B-A1C8-2401-F672-EABCAB4C40CD}"/>
                    </a:ext>
                  </a:extLst>
                </p:cNvPr>
                <p:cNvCxnSpPr>
                  <a:cxnSpLocks/>
                  <a:endCxn id="27" idx="1"/>
                </p:cNvCxnSpPr>
                <p:nvPr userDrawn="1"/>
              </p:nvCxnSpPr>
              <p:spPr>
                <a:xfrm rot="16200000" flipH="1">
                  <a:off x="5825518" y="4103387"/>
                  <a:ext cx="494325" cy="754951"/>
                </a:xfrm>
                <a:prstGeom prst="line">
                  <a:avLst/>
                </a:prstGeom>
                <a:ln w="12700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43D3124C-FCC9-66C3-EA2F-32C5232C59FC}"/>
                  </a:ext>
                </a:extLst>
              </p:cNvPr>
              <p:cNvCxnSpPr>
                <a:cxnSpLocks/>
                <a:stCxn id="28" idx="5"/>
                <a:endCxn id="29" idx="1"/>
              </p:cNvCxnSpPr>
              <p:nvPr userDrawn="1"/>
            </p:nvCxnSpPr>
            <p:spPr>
              <a:xfrm>
                <a:off x="1589265" y="4013839"/>
                <a:ext cx="1043448" cy="966911"/>
              </a:xfrm>
              <a:prstGeom prst="line">
                <a:avLst/>
              </a:prstGeom>
              <a:ln w="12700">
                <a:solidFill>
                  <a:srgbClr val="007483">
                    <a:alpha val="11000"/>
                  </a:srgbClr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D0986C41-7360-77D0-AD6E-0D3E44CA9C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1983537" y="5127790"/>
                <a:ext cx="612000" cy="900001"/>
              </a:xfrm>
              <a:prstGeom prst="line">
                <a:avLst/>
              </a:prstGeom>
              <a:ln w="12700">
                <a:solidFill>
                  <a:srgbClr val="007483">
                    <a:alpha val="11000"/>
                  </a:srgbClr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788491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67" r:id="rId3"/>
    <p:sldLayoutId id="2147483650" r:id="rId4"/>
    <p:sldLayoutId id="2147483654" r:id="rId5"/>
    <p:sldLayoutId id="2147483655" r:id="rId6"/>
    <p:sldLayoutId id="2147483652" r:id="rId7"/>
    <p:sldLayoutId id="2147483660" r:id="rId8"/>
    <p:sldLayoutId id="2147483662" r:id="rId9"/>
    <p:sldLayoutId id="2147483669" r:id="rId10"/>
    <p:sldLayoutId id="2147483661" r:id="rId11"/>
    <p:sldLayoutId id="2147483670" r:id="rId12"/>
    <p:sldLayoutId id="2147483663" r:id="rId13"/>
    <p:sldLayoutId id="2147483671" r:id="rId14"/>
    <p:sldLayoutId id="2147483664" r:id="rId15"/>
    <p:sldLayoutId id="2147483665" r:id="rId16"/>
    <p:sldLayoutId id="2147483666" r:id="rId17"/>
    <p:sldLayoutId id="2147483653" r:id="rId18"/>
    <p:sldLayoutId id="2147483656" r:id="rId19"/>
    <p:sldLayoutId id="2147483657" r:id="rId20"/>
    <p:sldLayoutId id="2147483658" r:id="rId21"/>
    <p:sldLayoutId id="2147483659" r:id="rId22"/>
  </p:sldLayoutIdLst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3E1829-38DF-E012-DBC2-15E60E907B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92829" y="1371747"/>
            <a:ext cx="9375321" cy="2387600"/>
          </a:xfrm>
        </p:spPr>
        <p:txBody>
          <a:bodyPr>
            <a:noAutofit/>
          </a:bodyPr>
          <a:lstStyle/>
          <a:p>
            <a:pPr algn="l"/>
            <a:r>
              <a:rPr lang="en-US" sz="4000" dirty="0" err="1">
                <a:solidFill>
                  <a:srgbClr val="ED7D31"/>
                </a:solidFill>
                <a:latin typeface="Arial" panose="020B0604020202020204" pitchFamily="34" charset="0"/>
              </a:rPr>
              <a:t>ResFlex</a:t>
            </a:r>
            <a:r>
              <a:rPr lang="en-US" sz="4000" dirty="0">
                <a:solidFill>
                  <a:srgbClr val="ED7D31"/>
                </a:solidFill>
                <a:latin typeface="Arial" panose="020B0604020202020204" pitchFamily="34" charset="0"/>
              </a:rPr>
              <a:t>: a residential load profile generator to model individual demand response in distribution grids</a:t>
            </a:r>
            <a:endParaRPr lang="en-US" sz="4000" dirty="0">
              <a:solidFill>
                <a:srgbClr val="ED7D3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7EA58A-6A4C-856D-8C1F-B97F64CA19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38325" y="3725863"/>
            <a:ext cx="8648700" cy="1655762"/>
          </a:xfrm>
        </p:spPr>
        <p:txBody>
          <a:bodyPr>
            <a:normAutofit/>
          </a:bodyPr>
          <a:lstStyle/>
          <a:p>
            <a:pPr algn="r"/>
            <a:r>
              <a:rPr lang="en-US" sz="2800" i="1" dirty="0">
                <a:solidFill>
                  <a:srgbClr val="007382"/>
                </a:solidFill>
              </a:rPr>
              <a:t>Smart-Microgrid team meeting</a:t>
            </a:r>
          </a:p>
          <a:p>
            <a:pPr algn="r"/>
            <a:r>
              <a:rPr lang="fr-BE" sz="2800" dirty="0">
                <a:solidFill>
                  <a:srgbClr val="007382"/>
                </a:solidFill>
              </a:rPr>
              <a:t>Thomas Stege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E93C65-AB16-F9D9-C931-EAA70F2C51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507849-6F8C-8FC3-4286-DCBA89A4B7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5178" y="5381625"/>
            <a:ext cx="3371847" cy="593351"/>
          </a:xfrm>
        </p:spPr>
        <p:txBody>
          <a:bodyPr/>
          <a:lstStyle/>
          <a:p>
            <a:r>
              <a:rPr lang="en-US" dirty="0"/>
              <a:t> 21 May 2025</a:t>
            </a:r>
          </a:p>
        </p:txBody>
      </p:sp>
    </p:spTree>
    <p:extLst>
      <p:ext uri="{BB962C8B-B14F-4D97-AF65-F5344CB8AC3E}">
        <p14:creationId xmlns:p14="http://schemas.microsoft.com/office/powerpoint/2010/main" val="299449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74E24F-3737-29D6-DCAD-D5B479C025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C7236EB-6481-F091-CDF8-5445BDD0E5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One power reference for each appliance and each timestep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The number of columns depends on the appliances in the hous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The number of rows depends on simulation length and timestep</a:t>
            </a:r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3C7A18-7607-DA59-EAC4-2AA6A5008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0E8BA9E-33AB-2DB8-A970-D52D71C14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exibility profile | Outputs (2)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AC764395-72D7-F21F-FE90-89907C5DA491}"/>
              </a:ext>
            </a:extLst>
          </p:cNvPr>
          <p:cNvSpPr txBox="1">
            <a:spLocks/>
          </p:cNvSpPr>
          <p:nvPr/>
        </p:nvSpPr>
        <p:spPr>
          <a:xfrm>
            <a:off x="646336" y="1498600"/>
            <a:ext cx="11041179" cy="4719383"/>
          </a:xfrm>
          <a:prstGeom prst="rect">
            <a:avLst/>
          </a:prstGeom>
          <a:ln w="28575"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7DB2C93-A127-EA91-7675-CA507D0A63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3969849"/>
              </p:ext>
            </p:extLst>
          </p:nvPr>
        </p:nvGraphicFramePr>
        <p:xfrm>
          <a:off x="1698858" y="4150816"/>
          <a:ext cx="8794284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2000">
                  <a:extLst>
                    <a:ext uri="{9D8B030D-6E8A-4147-A177-3AD203B41FA5}">
                      <a16:colId xmlns:a16="http://schemas.microsoft.com/office/drawing/2014/main" val="3949921633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1655301834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3613986473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2138295346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4056533049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1706314058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310545378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Occupan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_in</a:t>
                      </a:r>
                      <a:endParaRPr lang="en-US" sz="14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T_wall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T_out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P_lossair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87172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jan24 00: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7322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jan24 00:0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09442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1jan24 00: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9285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92080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94D400-1509-06BD-F7DB-7277C63D8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A3A9428-47BB-C704-2CD4-A078D631A3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third file is a JSON with all the constant parameters of the house:	</a:t>
            </a:r>
          </a:p>
          <a:p>
            <a:pPr marL="0" indent="0">
              <a:buNone/>
            </a:pPr>
            <a:endParaRPr lang="en-US" dirty="0"/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r>
              <a:rPr lang="en-US" dirty="0"/>
              <a:t> All the input parameters are copied in this file</a:t>
            </a:r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endParaRPr lang="en-US" dirty="0"/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r>
              <a:rPr lang="en-US" dirty="0"/>
              <a:t> Other parameters generated and used during simulation are added</a:t>
            </a:r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endParaRPr lang="en-US" dirty="0"/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r>
              <a:rPr lang="en-US" dirty="0"/>
              <a:t> Additional fields can be added for other uses (BSS, PV,…)</a:t>
            </a:r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endParaRPr lang="en-US" dirty="0"/>
          </a:p>
          <a:p>
            <a:pPr marL="0" indent="0">
              <a:buClr>
                <a:srgbClr val="00707F"/>
              </a:buClr>
              <a:buNone/>
            </a:pPr>
            <a:r>
              <a:rPr lang="en-US" dirty="0"/>
              <a:t>Sufficient information to “regenerate” and “modify” the initial profile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8F1A3A-B4AB-33E1-253A-1E9D185EC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5C18E9D-E9BE-35EB-B035-625477087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sehold parameters | Outputs (3)</a:t>
            </a:r>
          </a:p>
        </p:txBody>
      </p:sp>
    </p:spTree>
    <p:extLst>
      <p:ext uri="{BB962C8B-B14F-4D97-AF65-F5344CB8AC3E}">
        <p14:creationId xmlns:p14="http://schemas.microsoft.com/office/powerpoint/2010/main" val="24571143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DCF3C5-82D2-CF11-ED1C-EEEAD2164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CC41D5-AFDA-77F4-CE30-6AF68102F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12</a:t>
            </a:fld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DC9BC35-81FB-4C36-C5B3-BF843A8237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The JSON config file has the same structure, except:</a:t>
            </a:r>
          </a:p>
          <a:p>
            <a:r>
              <a:rPr lang="en-US" dirty="0"/>
              <a:t>Boolean values changed to probabilities (penetrations)</a:t>
            </a:r>
          </a:p>
          <a:p>
            <a:r>
              <a:rPr lang="en-US" dirty="0"/>
              <a:t>Quantitative parameters replaced by lists</a:t>
            </a:r>
          </a:p>
          <a:p>
            <a:r>
              <a:rPr lang="en-US" dirty="0"/>
              <a:t>Lists of corresponding probabilities provided</a:t>
            </a:r>
          </a:p>
          <a:p>
            <a:r>
              <a:rPr lang="en-US" dirty="0"/>
              <a:t>Additional “</a:t>
            </a:r>
            <a:r>
              <a:rPr lang="en-US" dirty="0" err="1"/>
              <a:t>nb_houses</a:t>
            </a:r>
            <a:r>
              <a:rPr lang="en-US" dirty="0"/>
              <a:t>” parame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B8F672-B339-E76A-6DD1-407E943F12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Inpu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02403FB-B619-28E6-7EE0-6D9DB4FAB4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Each profile is labeled “House{</a:t>
            </a:r>
            <a:r>
              <a:rPr lang="en-US" dirty="0" err="1"/>
              <a:t>i</a:t>
            </a:r>
            <a:r>
              <a:rPr lang="en-US" dirty="0"/>
              <a:t>} ”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tables are saved in Excel with one sheet per hous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probabilistic input parameters are converted to individual parameters and saved as a dictionary in JSON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EBC9570-4BFF-9CB5-314E-7D078352D7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Outpu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AB26C56-7DFA-8895-F84E-14DC3FF5C5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ting a population</a:t>
            </a:r>
          </a:p>
        </p:txBody>
      </p:sp>
    </p:spTree>
    <p:extLst>
      <p:ext uri="{BB962C8B-B14F-4D97-AF65-F5344CB8AC3E}">
        <p14:creationId xmlns:p14="http://schemas.microsoft.com/office/powerpoint/2010/main" val="9693420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D386F0AD-4FB9-3F97-4673-3EAD86470F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/>
          </a:bodyPr>
          <a:lstStyle/>
          <a:p>
            <a:r>
              <a:rPr lang="fr-BE" dirty="0" err="1"/>
              <a:t>Assess</a:t>
            </a:r>
            <a:r>
              <a:rPr lang="fr-BE" dirty="0"/>
              <a:t> stress </a:t>
            </a:r>
            <a:r>
              <a:rPr lang="fr-BE" dirty="0" err="1"/>
              <a:t>reduction</a:t>
            </a:r>
            <a:r>
              <a:rPr lang="fr-BE" dirty="0"/>
              <a:t> on the </a:t>
            </a:r>
            <a:r>
              <a:rPr lang="fr-BE" dirty="0" err="1"/>
              <a:t>grid</a:t>
            </a:r>
            <a:r>
              <a:rPr lang="fr-BE" dirty="0"/>
              <a:t> and </a:t>
            </a:r>
            <a:r>
              <a:rPr lang="fr-BE" dirty="0" err="1"/>
              <a:t>financial</a:t>
            </a:r>
            <a:r>
              <a:rPr lang="fr-BE" dirty="0"/>
              <a:t> </a:t>
            </a:r>
            <a:r>
              <a:rPr lang="fr-BE" dirty="0" err="1"/>
              <a:t>savings</a:t>
            </a:r>
            <a:r>
              <a:rPr lang="fr-BE" dirty="0"/>
              <a:t> for </a:t>
            </a:r>
            <a:r>
              <a:rPr lang="fr-BE" dirty="0" err="1"/>
              <a:t>members</a:t>
            </a:r>
            <a:endParaRPr lang="fr-BE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6E3F73D-D766-B2D7-3B6F-A0AB5BF4F72A}"/>
              </a:ext>
            </a:extLst>
          </p:cNvPr>
          <p:cNvSpPr/>
          <p:nvPr/>
        </p:nvSpPr>
        <p:spPr>
          <a:xfrm>
            <a:off x="609601" y="5393133"/>
            <a:ext cx="10972799" cy="132149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20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F1F3313-22D0-B669-A798-D3579EC691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err="1"/>
              <a:t>Recap</a:t>
            </a:r>
            <a:r>
              <a:rPr lang="fr-BE" dirty="0"/>
              <a:t> on last publication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6E703A3-A553-EC79-6918-4F100C95D8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BE" dirty="0" err="1"/>
              <a:t>Quantify</a:t>
            </a:r>
            <a:r>
              <a:rPr lang="fr-BE" dirty="0"/>
              <a:t> the </a:t>
            </a:r>
            <a:r>
              <a:rPr lang="fr-BE" dirty="0" err="1"/>
              <a:t>flexibility</a:t>
            </a:r>
            <a:r>
              <a:rPr lang="fr-BE" dirty="0"/>
              <a:t> </a:t>
            </a:r>
            <a:r>
              <a:rPr lang="fr-BE" dirty="0" err="1"/>
              <a:t>potential</a:t>
            </a:r>
            <a:r>
              <a:rPr lang="fr-BE" dirty="0"/>
              <a:t> for </a:t>
            </a:r>
            <a:r>
              <a:rPr lang="fr-BE" dirty="0" err="1"/>
              <a:t>residential</a:t>
            </a:r>
            <a:r>
              <a:rPr lang="fr-BE" dirty="0"/>
              <a:t> </a:t>
            </a:r>
            <a:r>
              <a:rPr lang="fr-BE" dirty="0" err="1"/>
              <a:t>load</a:t>
            </a:r>
            <a:r>
              <a:rPr lang="fr-BE" dirty="0"/>
              <a:t> profiles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8B614CF-401C-AAC6-AF6E-4657BD3A92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fr-BE" dirty="0" err="1"/>
              <a:t>Define</a:t>
            </a:r>
            <a:r>
              <a:rPr lang="fr-BE" dirty="0"/>
              <a:t> an </a:t>
            </a:r>
            <a:r>
              <a:rPr lang="fr-BE" dirty="0" err="1"/>
              <a:t>discomfort</a:t>
            </a:r>
            <a:r>
              <a:rPr lang="fr-BE" dirty="0"/>
              <a:t> </a:t>
            </a:r>
            <a:r>
              <a:rPr lang="fr-BE" dirty="0" err="1"/>
              <a:t>metric</a:t>
            </a:r>
            <a:r>
              <a:rPr lang="fr-BE" dirty="0"/>
              <a:t> </a:t>
            </a:r>
            <a:r>
              <a:rPr lang="fr-BE" dirty="0" err="1"/>
              <a:t>linked</a:t>
            </a:r>
            <a:r>
              <a:rPr lang="fr-BE" dirty="0"/>
              <a:t> to flexible </a:t>
            </a:r>
            <a:r>
              <a:rPr lang="fr-BE" dirty="0" err="1"/>
              <a:t>load</a:t>
            </a:r>
            <a:r>
              <a:rPr lang="fr-BE" dirty="0"/>
              <a:t> </a:t>
            </a:r>
            <a:r>
              <a:rPr lang="fr-BE" dirty="0" err="1"/>
              <a:t>displacement</a:t>
            </a:r>
            <a:r>
              <a:rPr lang="fr-BE" dirty="0"/>
              <a:t> 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57B50FD-D061-1C6A-4480-2BB1436CF3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fr-BE" dirty="0"/>
              <a:t>Propose an </a:t>
            </a:r>
            <a:r>
              <a:rPr lang="fr-BE" dirty="0" err="1"/>
              <a:t>energy</a:t>
            </a:r>
            <a:r>
              <a:rPr lang="fr-BE" dirty="0"/>
              <a:t> </a:t>
            </a:r>
            <a:r>
              <a:rPr lang="fr-BE" dirty="0" err="1"/>
              <a:t>community</a:t>
            </a:r>
            <a:r>
              <a:rPr lang="fr-BE" dirty="0"/>
              <a:t> </a:t>
            </a:r>
            <a:r>
              <a:rPr lang="fr-BE" dirty="0" err="1"/>
              <a:t>framework</a:t>
            </a:r>
            <a:r>
              <a:rPr lang="fr-BE" dirty="0"/>
              <a:t> to </a:t>
            </a:r>
            <a:r>
              <a:rPr lang="fr-BE" dirty="0" err="1"/>
              <a:t>harness</a:t>
            </a:r>
            <a:r>
              <a:rPr lang="fr-BE" dirty="0"/>
              <a:t> </a:t>
            </a:r>
            <a:r>
              <a:rPr lang="fr-BE" dirty="0" err="1"/>
              <a:t>flexibility</a:t>
            </a:r>
            <a:endParaRPr lang="fr-BE" dirty="0"/>
          </a:p>
        </p:txBody>
      </p: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8C76F642-8638-D362-A410-DA31594867B4}"/>
              </a:ext>
            </a:extLst>
          </p:cNvPr>
          <p:cNvGrpSpPr/>
          <p:nvPr/>
        </p:nvGrpSpPr>
        <p:grpSpPr>
          <a:xfrm>
            <a:off x="647308" y="5418137"/>
            <a:ext cx="10897384" cy="1271490"/>
            <a:chOff x="630381" y="6456461"/>
            <a:chExt cx="10897384" cy="1271490"/>
          </a:xfrm>
        </p:grpSpPr>
        <p:sp>
          <p:nvSpPr>
            <p:cNvPr id="26" name="Rectangle: Rounded Corners 4">
              <a:extLst>
                <a:ext uri="{FF2B5EF4-FFF2-40B4-BE49-F238E27FC236}">
                  <a16:creationId xmlns:a16="http://schemas.microsoft.com/office/drawing/2014/main" id="{B37F1195-4563-592D-B197-138946A2B77B}"/>
                </a:ext>
              </a:extLst>
            </p:cNvPr>
            <p:cNvSpPr/>
            <p:nvPr/>
          </p:nvSpPr>
          <p:spPr>
            <a:xfrm>
              <a:off x="630381" y="6456462"/>
              <a:ext cx="2520000" cy="1271489"/>
            </a:xfrm>
            <a:prstGeom prst="roundRect">
              <a:avLst/>
            </a:prstGeom>
            <a:solidFill>
              <a:srgbClr val="5DA4AF">
                <a:alpha val="80000"/>
              </a:srgbClr>
            </a:solidFill>
            <a:ln>
              <a:solidFill>
                <a:srgbClr val="00707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/>
                <a:t>Model and quantify demand flexibility </a:t>
              </a:r>
            </a:p>
            <a:p>
              <a:pPr algn="ctr"/>
              <a:r>
                <a:rPr lang="en-US" sz="2000" dirty="0"/>
                <a:t>for residential loads</a:t>
              </a:r>
            </a:p>
          </p:txBody>
        </p:sp>
        <p:sp>
          <p:nvSpPr>
            <p:cNvPr id="27" name="Arrow: Right 5">
              <a:extLst>
                <a:ext uri="{FF2B5EF4-FFF2-40B4-BE49-F238E27FC236}">
                  <a16:creationId xmlns:a16="http://schemas.microsoft.com/office/drawing/2014/main" id="{0446EDC6-0F19-A255-6650-38A01961BC17}"/>
                </a:ext>
              </a:extLst>
            </p:cNvPr>
            <p:cNvSpPr/>
            <p:nvPr/>
          </p:nvSpPr>
          <p:spPr>
            <a:xfrm>
              <a:off x="3382168" y="6786326"/>
              <a:ext cx="1205119" cy="611761"/>
            </a:xfrm>
            <a:prstGeom prst="rightArrow">
              <a:avLst/>
            </a:prstGeom>
            <a:solidFill>
              <a:srgbClr val="5DA4AF">
                <a:alpha val="80000"/>
              </a:srgbClr>
            </a:solidFill>
            <a:ln>
              <a:solidFill>
                <a:srgbClr val="00707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33" dirty="0"/>
            </a:p>
          </p:txBody>
        </p:sp>
        <p:sp>
          <p:nvSpPr>
            <p:cNvPr id="28" name="Rectangle: Rounded Corners 6">
              <a:extLst>
                <a:ext uri="{FF2B5EF4-FFF2-40B4-BE49-F238E27FC236}">
                  <a16:creationId xmlns:a16="http://schemas.microsoft.com/office/drawing/2014/main" id="{A6B6A85D-7EFF-40F6-A890-F3A6E2ECB7E8}"/>
                </a:ext>
              </a:extLst>
            </p:cNvPr>
            <p:cNvSpPr/>
            <p:nvPr/>
          </p:nvSpPr>
          <p:spPr>
            <a:xfrm>
              <a:off x="4819073" y="6456461"/>
              <a:ext cx="2520000" cy="1271489"/>
            </a:xfrm>
            <a:prstGeom prst="roundRect">
              <a:avLst/>
            </a:prstGeom>
            <a:solidFill>
              <a:srgbClr val="5DA4AF">
                <a:alpha val="80000"/>
              </a:srgbClr>
            </a:solidFill>
            <a:ln>
              <a:solidFill>
                <a:srgbClr val="00707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/>
                <a:t>Optimize load profile in the community framework</a:t>
              </a:r>
            </a:p>
          </p:txBody>
        </p:sp>
        <p:sp>
          <p:nvSpPr>
            <p:cNvPr id="29" name="Arrow: Right 7">
              <a:extLst>
                <a:ext uri="{FF2B5EF4-FFF2-40B4-BE49-F238E27FC236}">
                  <a16:creationId xmlns:a16="http://schemas.microsoft.com/office/drawing/2014/main" id="{EBF35015-1D79-1EFE-156E-D6CE06693277}"/>
                </a:ext>
              </a:extLst>
            </p:cNvPr>
            <p:cNvSpPr/>
            <p:nvPr/>
          </p:nvSpPr>
          <p:spPr>
            <a:xfrm>
              <a:off x="7570859" y="6786326"/>
              <a:ext cx="1205119" cy="611761"/>
            </a:xfrm>
            <a:prstGeom prst="rightArrow">
              <a:avLst/>
            </a:prstGeom>
            <a:solidFill>
              <a:srgbClr val="5DA4AF">
                <a:alpha val="80000"/>
              </a:srgbClr>
            </a:solidFill>
            <a:ln>
              <a:solidFill>
                <a:srgbClr val="00707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33" dirty="0"/>
            </a:p>
          </p:txBody>
        </p:sp>
        <p:sp>
          <p:nvSpPr>
            <p:cNvPr id="30" name="Rectangle: Rounded Corners 8">
              <a:extLst>
                <a:ext uri="{FF2B5EF4-FFF2-40B4-BE49-F238E27FC236}">
                  <a16:creationId xmlns:a16="http://schemas.microsoft.com/office/drawing/2014/main" id="{DEBF4265-459A-3E48-3712-4AF4991B3801}"/>
                </a:ext>
              </a:extLst>
            </p:cNvPr>
            <p:cNvSpPr/>
            <p:nvPr/>
          </p:nvSpPr>
          <p:spPr>
            <a:xfrm>
              <a:off x="9007765" y="6456461"/>
              <a:ext cx="2520000" cy="1271489"/>
            </a:xfrm>
            <a:prstGeom prst="roundRect">
              <a:avLst/>
            </a:prstGeom>
            <a:solidFill>
              <a:srgbClr val="5DA4AF">
                <a:alpha val="80000"/>
              </a:srgbClr>
            </a:solidFill>
            <a:ln>
              <a:solidFill>
                <a:srgbClr val="00707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/>
                <a:t>Propose two profit sharing mechanisms</a:t>
              </a:r>
            </a:p>
          </p:txBody>
        </p:sp>
      </p:grpSp>
      <p:sp>
        <p:nvSpPr>
          <p:cNvPr id="8" name="Espace réservé du numéro de diapositive 2">
            <a:extLst>
              <a:ext uri="{FF2B5EF4-FFF2-40B4-BE49-F238E27FC236}">
                <a16:creationId xmlns:a16="http://schemas.microsoft.com/office/drawing/2014/main" id="{9917B37F-CF2C-C829-7200-3BB0CE2692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8340" y="6351615"/>
            <a:ext cx="718351" cy="365125"/>
          </a:xfrm>
        </p:spPr>
        <p:txBody>
          <a:bodyPr/>
          <a:lstStyle/>
          <a:p>
            <a:fld id="{02FC85DC-C967-44B4-A8D3-2E757E7AADE2}" type="slidenum">
              <a:rPr lang="en-US" smtClean="0"/>
              <a:t>13</a:t>
            </a:fld>
            <a:endParaRPr lang="en-US" dirty="0"/>
          </a:p>
        </p:txBody>
      </p:sp>
      <p:grpSp>
        <p:nvGrpSpPr>
          <p:cNvPr id="21" name="Group 24">
            <a:extLst>
              <a:ext uri="{FF2B5EF4-FFF2-40B4-BE49-F238E27FC236}">
                <a16:creationId xmlns:a16="http://schemas.microsoft.com/office/drawing/2014/main" id="{C39C34D6-6337-DB14-FB3C-93ECE65111A9}"/>
              </a:ext>
            </a:extLst>
          </p:cNvPr>
          <p:cNvGrpSpPr/>
          <p:nvPr/>
        </p:nvGrpSpPr>
        <p:grpSpPr>
          <a:xfrm>
            <a:off x="2136000" y="4935611"/>
            <a:ext cx="7920000" cy="306171"/>
            <a:chOff x="2135999" y="4801676"/>
            <a:chExt cx="7920000" cy="306171"/>
          </a:xfrm>
        </p:grpSpPr>
        <p:cxnSp>
          <p:nvCxnSpPr>
            <p:cNvPr id="22" name="Straight Connector 25">
              <a:extLst>
                <a:ext uri="{FF2B5EF4-FFF2-40B4-BE49-F238E27FC236}">
                  <a16:creationId xmlns:a16="http://schemas.microsoft.com/office/drawing/2014/main" id="{62F24E87-5374-978D-8CCB-A7FF7B0D60A3}"/>
                </a:ext>
              </a:extLst>
            </p:cNvPr>
            <p:cNvCxnSpPr/>
            <p:nvPr/>
          </p:nvCxnSpPr>
          <p:spPr>
            <a:xfrm rot="5400000">
              <a:off x="6095999" y="994762"/>
              <a:ext cx="0" cy="7920000"/>
            </a:xfrm>
            <a:prstGeom prst="line">
              <a:avLst/>
            </a:prstGeom>
            <a:ln w="9525" cap="rnd">
              <a:solidFill>
                <a:srgbClr val="00748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" name="Group 26">
              <a:extLst>
                <a:ext uri="{FF2B5EF4-FFF2-40B4-BE49-F238E27FC236}">
                  <a16:creationId xmlns:a16="http://schemas.microsoft.com/office/drawing/2014/main" id="{E4C0D71F-9EBE-2E3A-2B52-DCC99FA02ECB}"/>
                </a:ext>
              </a:extLst>
            </p:cNvPr>
            <p:cNvGrpSpPr/>
            <p:nvPr/>
          </p:nvGrpSpPr>
          <p:grpSpPr>
            <a:xfrm rot="5400000">
              <a:off x="5942914" y="4801307"/>
              <a:ext cx="306171" cy="306910"/>
              <a:chOff x="5937564" y="3833745"/>
              <a:chExt cx="306171" cy="306910"/>
            </a:xfrm>
          </p:grpSpPr>
          <p:sp>
            <p:nvSpPr>
              <p:cNvPr id="24" name="Freeform 94">
                <a:extLst>
                  <a:ext uri="{FF2B5EF4-FFF2-40B4-BE49-F238E27FC236}">
                    <a16:creationId xmlns:a16="http://schemas.microsoft.com/office/drawing/2014/main" id="{8C8CD841-4AC9-327D-A62B-30F591CE7DA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5DA4AF"/>
              </a:solidFill>
              <a:ln>
                <a:solidFill>
                  <a:srgbClr val="007483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25" name="Freeform 95">
                <a:extLst>
                  <a:ext uri="{FF2B5EF4-FFF2-40B4-BE49-F238E27FC236}">
                    <a16:creationId xmlns:a16="http://schemas.microsoft.com/office/drawing/2014/main" id="{9F5206B2-E397-8194-08A2-C5F4CC2ED1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285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899821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med">
        <p159:morph option="byObject"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9FD43714-6005-3F1B-FD89-384E9EBA17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95A33AFC-2D24-3ACE-33B6-D9FDD559E6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15600" y="6428477"/>
            <a:ext cx="1524000" cy="353323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691BB3B-9738-D7DA-9C87-D83AAAA6F083}"/>
              </a:ext>
            </a:extLst>
          </p:cNvPr>
          <p:cNvSpPr txBox="1"/>
          <p:nvPr/>
        </p:nvSpPr>
        <p:spPr>
          <a:xfrm>
            <a:off x="3944944" y="3128403"/>
            <a:ext cx="1172572" cy="307777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60960" tIns="30480" rIns="60960" bIns="3048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i="1" dirty="0">
                <a:cs typeface="Calibri"/>
              </a:rPr>
              <a:t>Problem (2)</a:t>
            </a:r>
            <a:endParaRPr lang="en-US" sz="1600" i="1" dirty="0"/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F7F0D209-4A30-934F-1BC3-F56810523844}"/>
              </a:ext>
            </a:extLst>
          </p:cNvPr>
          <p:cNvCxnSpPr/>
          <p:nvPr/>
        </p:nvCxnSpPr>
        <p:spPr>
          <a:xfrm>
            <a:off x="2978486" y="2197253"/>
            <a:ext cx="1076410" cy="588000"/>
          </a:xfrm>
          <a:prstGeom prst="straightConnector1">
            <a:avLst/>
          </a:prstGeom>
          <a:ln w="28575">
            <a:solidFill>
              <a:srgbClr val="0070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avec flèche 7">
            <a:extLst>
              <a:ext uri="{FF2B5EF4-FFF2-40B4-BE49-F238E27FC236}">
                <a16:creationId xmlns:a16="http://schemas.microsoft.com/office/drawing/2014/main" id="{21B860B8-F4C9-53F5-941D-BCC48C01D441}"/>
              </a:ext>
            </a:extLst>
          </p:cNvPr>
          <p:cNvCxnSpPr>
            <a:cxnSpLocks/>
          </p:cNvCxnSpPr>
          <p:nvPr/>
        </p:nvCxnSpPr>
        <p:spPr>
          <a:xfrm flipH="1">
            <a:off x="1873242" y="2191238"/>
            <a:ext cx="1103869" cy="588000"/>
          </a:xfrm>
          <a:prstGeom prst="straightConnector1">
            <a:avLst/>
          </a:prstGeom>
          <a:ln w="28575">
            <a:solidFill>
              <a:srgbClr val="0070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4EF0663E-96BE-A403-E9B4-1173E076DDBA}"/>
              </a:ext>
            </a:extLst>
          </p:cNvPr>
          <p:cNvSpPr/>
          <p:nvPr/>
        </p:nvSpPr>
        <p:spPr>
          <a:xfrm>
            <a:off x="400755" y="2799219"/>
            <a:ext cx="1968000" cy="329184"/>
          </a:xfrm>
          <a:prstGeom prst="roundRect">
            <a:avLst/>
          </a:prstGeom>
          <a:ln>
            <a:solidFill>
              <a:srgbClr val="00707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867" dirty="0">
                <a:cs typeface="Calibri"/>
              </a:rPr>
              <a:t>With Flexibility</a:t>
            </a:r>
            <a:endParaRPr lang="en-US" sz="1867" dirty="0"/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A4C749E9-785D-01D9-60DA-37D46645C328}"/>
              </a:ext>
            </a:extLst>
          </p:cNvPr>
          <p:cNvSpPr/>
          <p:nvPr/>
        </p:nvSpPr>
        <p:spPr>
          <a:xfrm>
            <a:off x="3541585" y="2799219"/>
            <a:ext cx="1968000" cy="329184"/>
          </a:xfrm>
          <a:prstGeom prst="roundRect">
            <a:avLst/>
          </a:prstGeom>
          <a:ln>
            <a:solidFill>
              <a:srgbClr val="00707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60960" tIns="30480" rIns="60960" bIns="30480" rtlCol="0" anchor="ctr"/>
          <a:lstStyle/>
          <a:p>
            <a:pPr algn="ctr"/>
            <a:r>
              <a:rPr lang="en-US" sz="1867" dirty="0">
                <a:cs typeface="Calibri"/>
              </a:rPr>
              <a:t>Without Flexibility</a:t>
            </a:r>
            <a:endParaRPr lang="en-US" sz="1867" dirty="0"/>
          </a:p>
        </p:txBody>
      </p:sp>
      <p:cxnSp>
        <p:nvCxnSpPr>
          <p:cNvPr id="12" name="Connecteur droit avec flèche 11">
            <a:extLst>
              <a:ext uri="{FF2B5EF4-FFF2-40B4-BE49-F238E27FC236}">
                <a16:creationId xmlns:a16="http://schemas.microsoft.com/office/drawing/2014/main" id="{A346EB88-A379-A2D4-EDE9-D9B87A5D7052}"/>
              </a:ext>
            </a:extLst>
          </p:cNvPr>
          <p:cNvCxnSpPr>
            <a:cxnSpLocks/>
          </p:cNvCxnSpPr>
          <p:nvPr/>
        </p:nvCxnSpPr>
        <p:spPr>
          <a:xfrm>
            <a:off x="9231058" y="2197029"/>
            <a:ext cx="1076410" cy="588000"/>
          </a:xfrm>
          <a:prstGeom prst="straightConnector1">
            <a:avLst/>
          </a:prstGeom>
          <a:ln w="28575">
            <a:solidFill>
              <a:srgbClr val="0070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B149669E-621A-E770-0292-3EDC81822FD5}"/>
              </a:ext>
            </a:extLst>
          </p:cNvPr>
          <p:cNvCxnSpPr>
            <a:cxnSpLocks/>
          </p:cNvCxnSpPr>
          <p:nvPr/>
        </p:nvCxnSpPr>
        <p:spPr>
          <a:xfrm flipH="1">
            <a:off x="8125815" y="2191073"/>
            <a:ext cx="1103869" cy="588000"/>
          </a:xfrm>
          <a:prstGeom prst="straightConnector1">
            <a:avLst/>
          </a:prstGeom>
          <a:ln w="28575">
            <a:solidFill>
              <a:srgbClr val="0070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09B47E1C-78CD-2130-F1C2-8357DB159C35}"/>
              </a:ext>
            </a:extLst>
          </p:cNvPr>
          <p:cNvSpPr/>
          <p:nvPr/>
        </p:nvSpPr>
        <p:spPr>
          <a:xfrm>
            <a:off x="6682414" y="2799219"/>
            <a:ext cx="1968000" cy="329184"/>
          </a:xfrm>
          <a:prstGeom prst="roundRect">
            <a:avLst/>
          </a:prstGeom>
          <a:ln>
            <a:solidFill>
              <a:srgbClr val="00707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867" dirty="0">
                <a:cs typeface="Calibri"/>
              </a:rPr>
              <a:t>With Flexibility</a:t>
            </a:r>
            <a:endParaRPr lang="en-US" sz="1867" dirty="0"/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E6556447-FCA3-F327-5038-27CAEF10928B}"/>
              </a:ext>
            </a:extLst>
          </p:cNvPr>
          <p:cNvSpPr/>
          <p:nvPr/>
        </p:nvSpPr>
        <p:spPr>
          <a:xfrm>
            <a:off x="9823244" y="2799219"/>
            <a:ext cx="1968000" cy="329184"/>
          </a:xfrm>
          <a:prstGeom prst="roundRect">
            <a:avLst/>
          </a:prstGeom>
          <a:ln>
            <a:solidFill>
              <a:srgbClr val="00707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60960" tIns="30480" rIns="60960" bIns="30480" rtlCol="0" anchor="ctr"/>
          <a:lstStyle/>
          <a:p>
            <a:pPr algn="ctr"/>
            <a:r>
              <a:rPr lang="en-US" sz="1867" dirty="0">
                <a:cs typeface="Calibri"/>
              </a:rPr>
              <a:t>Without Flexibility</a:t>
            </a:r>
            <a:endParaRPr lang="en-US" sz="1867" dirty="0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24A16834-1FA1-FB20-7961-2440000B84AA}"/>
              </a:ext>
            </a:extLst>
          </p:cNvPr>
          <p:cNvSpPr txBox="1"/>
          <p:nvPr/>
        </p:nvSpPr>
        <p:spPr>
          <a:xfrm>
            <a:off x="798469" y="3128403"/>
            <a:ext cx="1172572" cy="307777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60960" tIns="30480" rIns="60960" bIns="3048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i="1" dirty="0">
                <a:cs typeface="Calibri"/>
              </a:rPr>
              <a:t>Problem (1)</a:t>
            </a:r>
            <a:endParaRPr lang="en-US" sz="1600" i="1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C07DB24F-75D3-97F1-6F21-B61ED57ED9B4}"/>
              </a:ext>
            </a:extLst>
          </p:cNvPr>
          <p:cNvSpPr txBox="1"/>
          <p:nvPr/>
        </p:nvSpPr>
        <p:spPr>
          <a:xfrm>
            <a:off x="7080129" y="3128403"/>
            <a:ext cx="1172572" cy="307777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60960" tIns="30480" rIns="60960" bIns="3048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i="1" dirty="0">
                <a:cs typeface="Calibri"/>
              </a:rPr>
              <a:t>Problem (3)</a:t>
            </a:r>
            <a:endParaRPr lang="en-US" sz="1600" i="1" dirty="0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1BB6ED0F-CCD8-5533-38AE-D997E19C27EA}"/>
              </a:ext>
            </a:extLst>
          </p:cNvPr>
          <p:cNvSpPr txBox="1"/>
          <p:nvPr/>
        </p:nvSpPr>
        <p:spPr>
          <a:xfrm>
            <a:off x="10220959" y="3128402"/>
            <a:ext cx="1172572" cy="307777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60960" tIns="30480" rIns="60960" bIns="3048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i="1" dirty="0">
                <a:cs typeface="Calibri"/>
              </a:rPr>
              <a:t>Problem (4)</a:t>
            </a:r>
            <a:endParaRPr lang="en-US" sz="1600" i="1" dirty="0"/>
          </a:p>
        </p:txBody>
      </p:sp>
      <p:sp>
        <p:nvSpPr>
          <p:cNvPr id="20" name="Accolade ouvrante 19">
            <a:extLst>
              <a:ext uri="{FF2B5EF4-FFF2-40B4-BE49-F238E27FC236}">
                <a16:creationId xmlns:a16="http://schemas.microsoft.com/office/drawing/2014/main" id="{0F153775-6779-DC95-BFE4-763004258BB2}"/>
              </a:ext>
            </a:extLst>
          </p:cNvPr>
          <p:cNvSpPr/>
          <p:nvPr/>
        </p:nvSpPr>
        <p:spPr>
          <a:xfrm rot="16200000">
            <a:off x="7461848" y="487854"/>
            <a:ext cx="356974" cy="6216953"/>
          </a:xfrm>
          <a:prstGeom prst="leftBrace">
            <a:avLst>
              <a:gd name="adj1" fmla="val 8333"/>
              <a:gd name="adj2" fmla="val 50356"/>
            </a:avLst>
          </a:prstGeom>
          <a:ln>
            <a:solidFill>
              <a:srgbClr val="5DA4AF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33" dirty="0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FC6BF6C6-4D81-C0CE-07CF-E19A3A2C76FE}"/>
              </a:ext>
            </a:extLst>
          </p:cNvPr>
          <p:cNvSpPr txBox="1"/>
          <p:nvPr/>
        </p:nvSpPr>
        <p:spPr>
          <a:xfrm>
            <a:off x="6005274" y="3779071"/>
            <a:ext cx="3322277" cy="800219"/>
          </a:xfrm>
          <a:prstGeom prst="rect">
            <a:avLst/>
          </a:prstGeom>
          <a:noFill/>
          <a:ln w="19050">
            <a:solidFill>
              <a:srgbClr val="5DA4AF"/>
            </a:solidFill>
            <a:prstDash val="sysDot"/>
          </a:ln>
        </p:spPr>
        <p:txBody>
          <a:bodyPr rot="0" spcFirstLastPara="0" vertOverflow="overflow" horzOverflow="overflow" vert="horz" wrap="square" lIns="60960" tIns="30480" rIns="60960" bIns="3048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i="1" dirty="0">
                <a:cs typeface="Calibri"/>
              </a:rPr>
              <a:t>(4) - (2) = Profits generated </a:t>
            </a:r>
          </a:p>
          <a:p>
            <a:pPr algn="ctr"/>
            <a:r>
              <a:rPr lang="en-US" sz="1600" i="1" dirty="0">
                <a:cs typeface="Calibri"/>
              </a:rPr>
              <a:t>by the community framework </a:t>
            </a:r>
          </a:p>
          <a:p>
            <a:pPr algn="ctr"/>
            <a:r>
              <a:rPr lang="en-US" sz="1600" i="1" dirty="0">
                <a:cs typeface="Calibri"/>
                <a:sym typeface="Wingdings" panose="05000000000000000000" pitchFamily="2" charset="2"/>
              </a:rPr>
              <a:t> not part of this work</a:t>
            </a:r>
            <a:endParaRPr lang="en-US" sz="1600" i="1" dirty="0"/>
          </a:p>
        </p:txBody>
      </p:sp>
      <p:sp>
        <p:nvSpPr>
          <p:cNvPr id="22" name="Accolade ouvrante 21">
            <a:extLst>
              <a:ext uri="{FF2B5EF4-FFF2-40B4-BE49-F238E27FC236}">
                <a16:creationId xmlns:a16="http://schemas.microsoft.com/office/drawing/2014/main" id="{20C78A57-0385-2960-244A-0784EA137BC2}"/>
              </a:ext>
            </a:extLst>
          </p:cNvPr>
          <p:cNvSpPr/>
          <p:nvPr/>
        </p:nvSpPr>
        <p:spPr>
          <a:xfrm rot="16200000">
            <a:off x="2791228" y="2069804"/>
            <a:ext cx="356973" cy="3053050"/>
          </a:xfrm>
          <a:prstGeom prst="leftBrace">
            <a:avLst/>
          </a:prstGeom>
          <a:ln>
            <a:solidFill>
              <a:srgbClr val="5DA4A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33" dirty="0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9AE8FF9B-D49B-E17B-07ED-A1CACB7149EA}"/>
              </a:ext>
            </a:extLst>
          </p:cNvPr>
          <p:cNvSpPr txBox="1"/>
          <p:nvPr/>
        </p:nvSpPr>
        <p:spPr>
          <a:xfrm>
            <a:off x="1366339" y="3779071"/>
            <a:ext cx="3206749" cy="800219"/>
          </a:xfrm>
          <a:prstGeom prst="rect">
            <a:avLst/>
          </a:prstGeom>
          <a:noFill/>
          <a:ln w="19050">
            <a:solidFill>
              <a:srgbClr val="5DA4AF"/>
            </a:solidFill>
            <a:prstDash val="sysDash"/>
          </a:ln>
        </p:spPr>
        <p:txBody>
          <a:bodyPr rot="0" spcFirstLastPara="0" vertOverflow="overflow" horzOverflow="overflow" vert="horz" wrap="square" lIns="60960" tIns="30480" rIns="60960" bIns="3048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i="1" dirty="0">
                <a:cs typeface="Calibri"/>
              </a:rPr>
              <a:t>(2) - (1) = Additional profits generated by the flexibility, </a:t>
            </a:r>
          </a:p>
          <a:p>
            <a:pPr algn="ctr"/>
            <a:r>
              <a:rPr lang="en-US" sz="1600" i="1" dirty="0">
                <a:cs typeface="Calibri"/>
                <a:sym typeface="Wingdings" panose="05000000000000000000" pitchFamily="2" charset="2"/>
              </a:rPr>
              <a:t></a:t>
            </a:r>
            <a:r>
              <a:rPr lang="en-US" sz="1600" i="1" dirty="0">
                <a:cs typeface="Calibri"/>
              </a:rPr>
              <a:t> will be shared in settlement</a:t>
            </a:r>
            <a:endParaRPr lang="en-US" sz="1600" i="1" dirty="0"/>
          </a:p>
        </p:txBody>
      </p:sp>
      <p:sp>
        <p:nvSpPr>
          <p:cNvPr id="25" name="ZoneTexte 25">
            <a:extLst>
              <a:ext uri="{FF2B5EF4-FFF2-40B4-BE49-F238E27FC236}">
                <a16:creationId xmlns:a16="http://schemas.microsoft.com/office/drawing/2014/main" id="{5100E3A9-8DA2-767F-5C33-56ADC2D27999}"/>
              </a:ext>
            </a:extLst>
          </p:cNvPr>
          <p:cNvSpPr txBox="1"/>
          <p:nvPr/>
        </p:nvSpPr>
        <p:spPr>
          <a:xfrm>
            <a:off x="7618913" y="3779071"/>
            <a:ext cx="3206749" cy="800219"/>
          </a:xfrm>
          <a:prstGeom prst="rect">
            <a:avLst/>
          </a:prstGeom>
          <a:noFill/>
          <a:ln w="19050">
            <a:solidFill>
              <a:srgbClr val="5DA4AF"/>
            </a:solidFill>
            <a:prstDash val="sysDash"/>
          </a:ln>
        </p:spPr>
        <p:txBody>
          <a:bodyPr rot="0" spcFirstLastPara="0" vertOverflow="overflow" horzOverflow="overflow" vert="horz" wrap="square" lIns="60960" tIns="30480" rIns="60960" bIns="3048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i="1" dirty="0">
                <a:cs typeface="Calibri"/>
              </a:rPr>
              <a:t>(4) - (3) = Additional profits generated by the flexibility, </a:t>
            </a:r>
          </a:p>
          <a:p>
            <a:pPr algn="ctr"/>
            <a:r>
              <a:rPr lang="en-US" sz="1600" i="1" dirty="0">
                <a:cs typeface="Calibri"/>
              </a:rPr>
              <a:t>without the community</a:t>
            </a:r>
            <a:endParaRPr lang="en-US" sz="1600" i="1" dirty="0"/>
          </a:p>
        </p:txBody>
      </p:sp>
      <p:sp>
        <p:nvSpPr>
          <p:cNvPr id="27" name="ZoneTexte 25">
            <a:extLst>
              <a:ext uri="{FF2B5EF4-FFF2-40B4-BE49-F238E27FC236}">
                <a16:creationId xmlns:a16="http://schemas.microsoft.com/office/drawing/2014/main" id="{3B858D33-8953-ED96-6DB9-58B62B96E8E0}"/>
              </a:ext>
            </a:extLst>
          </p:cNvPr>
          <p:cNvSpPr txBox="1"/>
          <p:nvPr/>
        </p:nvSpPr>
        <p:spPr>
          <a:xfrm>
            <a:off x="3429381" y="4901373"/>
            <a:ext cx="5333239" cy="1293971"/>
          </a:xfrm>
          <a:prstGeom prst="roundRect">
            <a:avLst/>
          </a:prstGeom>
          <a:noFill/>
          <a:ln w="19050">
            <a:solidFill>
              <a:srgbClr val="5DA4AF"/>
            </a:solidFill>
            <a:prstDash val="solid"/>
          </a:ln>
        </p:spPr>
        <p:txBody>
          <a:bodyPr rot="0" spcFirstLastPara="0" vertOverflow="overflow" horzOverflow="overflow" vert="horz" wrap="square" lIns="60960" tIns="30480" rIns="60960" bIns="3048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i="1" dirty="0">
                <a:cs typeface="Calibri"/>
              </a:rPr>
              <a:t>Those benefits can be compared to quantify how much the REC improves them</a:t>
            </a:r>
            <a:endParaRPr lang="en-US" sz="2400" i="1" dirty="0"/>
          </a:p>
        </p:txBody>
      </p:sp>
      <p:sp>
        <p:nvSpPr>
          <p:cNvPr id="67" name="Accolade ouvrante 66">
            <a:extLst>
              <a:ext uri="{FF2B5EF4-FFF2-40B4-BE49-F238E27FC236}">
                <a16:creationId xmlns:a16="http://schemas.microsoft.com/office/drawing/2014/main" id="{0720C3FC-4A27-3E01-E551-6F33AAE7D357}"/>
              </a:ext>
            </a:extLst>
          </p:cNvPr>
          <p:cNvSpPr/>
          <p:nvPr/>
        </p:nvSpPr>
        <p:spPr>
          <a:xfrm rot="16200000">
            <a:off x="9043801" y="2069805"/>
            <a:ext cx="356973" cy="3053050"/>
          </a:xfrm>
          <a:prstGeom prst="leftBrace">
            <a:avLst/>
          </a:prstGeom>
          <a:ln>
            <a:solidFill>
              <a:srgbClr val="5DA4A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33" dirty="0"/>
          </a:p>
        </p:txBody>
      </p:sp>
      <p:cxnSp>
        <p:nvCxnSpPr>
          <p:cNvPr id="68" name="Connecteur droit avec flèche 67">
            <a:extLst>
              <a:ext uri="{FF2B5EF4-FFF2-40B4-BE49-F238E27FC236}">
                <a16:creationId xmlns:a16="http://schemas.microsoft.com/office/drawing/2014/main" id="{F8DBC9ED-FF35-CBAB-BCFE-9AF31F16D8FD}"/>
              </a:ext>
            </a:extLst>
          </p:cNvPr>
          <p:cNvCxnSpPr>
            <a:cxnSpLocks/>
            <a:stCxn id="23" idx="3"/>
            <a:endCxn id="27" idx="0"/>
          </p:cNvCxnSpPr>
          <p:nvPr/>
        </p:nvCxnSpPr>
        <p:spPr>
          <a:xfrm>
            <a:off x="4573088" y="4179181"/>
            <a:ext cx="1522913" cy="722192"/>
          </a:xfrm>
          <a:prstGeom prst="straightConnector1">
            <a:avLst/>
          </a:prstGeom>
          <a:ln w="28575">
            <a:solidFill>
              <a:srgbClr val="5DA4A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eur droit avec flèche 70">
            <a:extLst>
              <a:ext uri="{FF2B5EF4-FFF2-40B4-BE49-F238E27FC236}">
                <a16:creationId xmlns:a16="http://schemas.microsoft.com/office/drawing/2014/main" id="{52870D63-80EC-B84C-3A8E-1C9B1C7362CA}"/>
              </a:ext>
            </a:extLst>
          </p:cNvPr>
          <p:cNvCxnSpPr>
            <a:cxnSpLocks/>
            <a:stCxn id="25" idx="1"/>
            <a:endCxn id="27" idx="0"/>
          </p:cNvCxnSpPr>
          <p:nvPr/>
        </p:nvCxnSpPr>
        <p:spPr>
          <a:xfrm flipH="1">
            <a:off x="6096001" y="4179181"/>
            <a:ext cx="1522912" cy="722192"/>
          </a:xfrm>
          <a:prstGeom prst="straightConnector1">
            <a:avLst/>
          </a:prstGeom>
          <a:ln w="28575">
            <a:solidFill>
              <a:srgbClr val="5DA4A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re 30">
            <a:extLst>
              <a:ext uri="{FF2B5EF4-FFF2-40B4-BE49-F238E27FC236}">
                <a16:creationId xmlns:a16="http://schemas.microsoft.com/office/drawing/2014/main" id="{89588C4B-CCB3-6358-086E-C08910C6A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ious simulation scenario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48A81EF-414E-34BA-E891-1322C1BDC587}"/>
              </a:ext>
            </a:extLst>
          </p:cNvPr>
          <p:cNvSpPr/>
          <p:nvPr/>
        </p:nvSpPr>
        <p:spPr>
          <a:xfrm>
            <a:off x="1441636" y="1700528"/>
            <a:ext cx="3053051" cy="495789"/>
          </a:xfrm>
          <a:prstGeom prst="rect">
            <a:avLst/>
          </a:prstGeom>
          <a:ln>
            <a:solidFill>
              <a:srgbClr val="00707F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0960" tIns="30480" rIns="60960" bIns="30480" rtlCol="0" anchor="ctr"/>
          <a:lstStyle/>
          <a:p>
            <a:pPr algn="ctr"/>
            <a:r>
              <a:rPr lang="en-US" sz="2400" dirty="0">
                <a:cs typeface="Calibri"/>
              </a:rPr>
              <a:t>Community Framework</a:t>
            </a:r>
            <a:endParaRPr lang="en-US" sz="24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83EB95D-D03D-9748-E5E4-C6A341AD8D8B}"/>
              </a:ext>
            </a:extLst>
          </p:cNvPr>
          <p:cNvSpPr/>
          <p:nvPr/>
        </p:nvSpPr>
        <p:spPr>
          <a:xfrm>
            <a:off x="7695761" y="1700528"/>
            <a:ext cx="3053051" cy="495789"/>
          </a:xfrm>
          <a:prstGeom prst="rect">
            <a:avLst/>
          </a:prstGeom>
          <a:ln>
            <a:solidFill>
              <a:srgbClr val="00707F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0960" tIns="30480" rIns="60960" bIns="30480" rtlCol="0" anchor="ctr"/>
          <a:lstStyle/>
          <a:p>
            <a:pPr algn="ctr"/>
            <a:r>
              <a:rPr lang="en-US" sz="2400" dirty="0">
                <a:cs typeface="Calibri"/>
              </a:rPr>
              <a:t>Individual Framework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63378388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med">
        <p159:morph option="byObject"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0" grpId="1" animBg="1"/>
      <p:bldP spid="21" grpId="0" animBg="1"/>
      <p:bldP spid="21" grpId="1" animBg="1"/>
      <p:bldP spid="22" grpId="0" animBg="1"/>
      <p:bldP spid="23" grpId="0" animBg="1"/>
      <p:bldP spid="25" grpId="0" animBg="1"/>
      <p:bldP spid="27" grpId="0" animBg="1"/>
      <p:bldP spid="6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450B7A4-3911-7AF2-C747-E70E7DC14A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49B4D0-331C-B9AF-070C-3132A08081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!OP">
            <a:extLst>
              <a:ext uri="{FF2B5EF4-FFF2-40B4-BE49-F238E27FC236}">
                <a16:creationId xmlns:a16="http://schemas.microsoft.com/office/drawing/2014/main" id="{88BC0868-9D90-3DCC-97AC-9FBECA1847EC}"/>
              </a:ext>
            </a:extLst>
          </p:cNvPr>
          <p:cNvSpPr txBox="1">
            <a:spLocks/>
          </p:cNvSpPr>
          <p:nvPr/>
        </p:nvSpPr>
        <p:spPr>
          <a:xfrm>
            <a:off x="646336" y="33265"/>
            <a:ext cx="11021533" cy="11795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BE" dirty="0" err="1"/>
              <a:t>Previous</a:t>
            </a:r>
            <a:r>
              <a:rPr lang="fr-BE" dirty="0"/>
              <a:t> conclusions and </a:t>
            </a:r>
            <a:r>
              <a:rPr lang="fr-BE" dirty="0" err="1"/>
              <a:t>next</a:t>
            </a:r>
            <a:r>
              <a:rPr lang="fr-BE" dirty="0"/>
              <a:t> </a:t>
            </a:r>
            <a:r>
              <a:rPr lang="fr-BE" dirty="0" err="1"/>
              <a:t>steps</a:t>
            </a:r>
            <a:endParaRPr lang="en-US" dirty="0"/>
          </a:p>
        </p:txBody>
      </p:sp>
      <p:sp>
        <p:nvSpPr>
          <p:cNvPr id="12" name="Espace réservé du contenu 11">
            <a:extLst>
              <a:ext uri="{FF2B5EF4-FFF2-40B4-BE49-F238E27FC236}">
                <a16:creationId xmlns:a16="http://schemas.microsoft.com/office/drawing/2014/main" id="{34CD69AB-1DB2-FA9D-F5B5-CE81BFF83B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6336" y="1498600"/>
            <a:ext cx="11041179" cy="4616450"/>
          </a:xfrm>
        </p:spPr>
        <p:txBody>
          <a:bodyPr>
            <a:normAutofit/>
          </a:bodyPr>
          <a:lstStyle/>
          <a:p>
            <a:r>
              <a:rPr lang="fr-BE" sz="2800" dirty="0" err="1"/>
              <a:t>Implicit</a:t>
            </a:r>
            <a:r>
              <a:rPr lang="fr-BE" sz="2800" dirty="0"/>
              <a:t> </a:t>
            </a:r>
            <a:r>
              <a:rPr lang="fr-BE" sz="2800" dirty="0" err="1"/>
              <a:t>flexibility</a:t>
            </a:r>
            <a:r>
              <a:rPr lang="fr-BE" sz="2800" dirty="0"/>
              <a:t> can </a:t>
            </a:r>
            <a:r>
              <a:rPr lang="fr-BE" sz="2800" dirty="0" err="1"/>
              <a:t>provide</a:t>
            </a:r>
            <a:r>
              <a:rPr lang="fr-BE" sz="2800" dirty="0"/>
              <a:t> </a:t>
            </a:r>
            <a:r>
              <a:rPr lang="fr-BE" sz="2800" dirty="0" err="1"/>
              <a:t>benefits</a:t>
            </a:r>
            <a:r>
              <a:rPr lang="fr-BE" sz="2800" dirty="0"/>
              <a:t> for all </a:t>
            </a:r>
            <a:r>
              <a:rPr lang="fr-BE" sz="2800" dirty="0" err="1"/>
              <a:t>members</a:t>
            </a:r>
            <a:r>
              <a:rPr lang="fr-BE" sz="2800" dirty="0"/>
              <a:t> and the </a:t>
            </a:r>
            <a:r>
              <a:rPr lang="fr-BE" sz="2800" dirty="0" err="1"/>
              <a:t>grid</a:t>
            </a:r>
            <a:endParaRPr lang="fr-BE" sz="2800" dirty="0"/>
          </a:p>
          <a:p>
            <a:endParaRPr lang="fr-BE" dirty="0"/>
          </a:p>
          <a:p>
            <a:r>
              <a:rPr lang="fr-BE" dirty="0"/>
              <a:t>The </a:t>
            </a:r>
            <a:r>
              <a:rPr lang="fr-BE" dirty="0" err="1"/>
              <a:t>community</a:t>
            </a:r>
            <a:r>
              <a:rPr lang="fr-BE" dirty="0"/>
              <a:t> </a:t>
            </a:r>
            <a:r>
              <a:rPr lang="fr-BE" dirty="0" err="1"/>
              <a:t>framework</a:t>
            </a:r>
            <a:r>
              <a:rPr lang="fr-BE" dirty="0"/>
              <a:t> can </a:t>
            </a:r>
            <a:r>
              <a:rPr lang="fr-BE" dirty="0" err="1"/>
              <a:t>increase</a:t>
            </a:r>
            <a:r>
              <a:rPr lang="fr-BE" dirty="0"/>
              <a:t> </a:t>
            </a:r>
            <a:r>
              <a:rPr lang="fr-BE" dirty="0" err="1"/>
              <a:t>said</a:t>
            </a:r>
            <a:r>
              <a:rPr lang="fr-BE" dirty="0"/>
              <a:t> </a:t>
            </a:r>
            <a:r>
              <a:rPr lang="fr-BE" dirty="0" err="1"/>
              <a:t>benefits</a:t>
            </a:r>
            <a:r>
              <a:rPr lang="fr-BE" dirty="0"/>
              <a:t> </a:t>
            </a:r>
          </a:p>
          <a:p>
            <a:endParaRPr lang="fr-BE" dirty="0"/>
          </a:p>
          <a:p>
            <a:r>
              <a:rPr lang="fr-BE" dirty="0" err="1"/>
              <a:t>Flexibility</a:t>
            </a:r>
            <a:r>
              <a:rPr lang="fr-BE" dirty="0"/>
              <a:t> activation and </a:t>
            </a:r>
            <a:r>
              <a:rPr lang="fr-BE" dirty="0" err="1"/>
              <a:t>remuneration</a:t>
            </a:r>
            <a:r>
              <a:rPr lang="fr-BE" dirty="0"/>
              <a:t> </a:t>
            </a:r>
            <a:r>
              <a:rPr lang="fr-BE" dirty="0" err="1"/>
              <a:t>should</a:t>
            </a:r>
            <a:r>
              <a:rPr lang="fr-BE" dirty="0"/>
              <a:t> </a:t>
            </a:r>
            <a:r>
              <a:rPr lang="fr-BE" dirty="0" err="1"/>
              <a:t>be</a:t>
            </a:r>
            <a:r>
              <a:rPr lang="fr-BE" dirty="0"/>
              <a:t> </a:t>
            </a:r>
            <a:r>
              <a:rPr lang="fr-BE" dirty="0" err="1"/>
              <a:t>well</a:t>
            </a:r>
            <a:r>
              <a:rPr lang="fr-BE" dirty="0"/>
              <a:t> </a:t>
            </a:r>
            <a:r>
              <a:rPr lang="fr-BE" dirty="0" err="1"/>
              <a:t>designed</a:t>
            </a:r>
            <a:endParaRPr lang="fr-BE" dirty="0"/>
          </a:p>
          <a:p>
            <a:endParaRPr lang="fr-BE" dirty="0"/>
          </a:p>
          <a:p>
            <a:r>
              <a:rPr lang="fr-BE" dirty="0" err="1"/>
              <a:t>We</a:t>
            </a:r>
            <a:r>
              <a:rPr lang="fr-BE" dirty="0"/>
              <a:t> </a:t>
            </a:r>
            <a:r>
              <a:rPr lang="fr-BE" dirty="0" err="1"/>
              <a:t>will</a:t>
            </a:r>
            <a:r>
              <a:rPr lang="fr-BE" dirty="0"/>
              <a:t> </a:t>
            </a:r>
            <a:r>
              <a:rPr lang="fr-BE" dirty="0" err="1"/>
              <a:t>develop</a:t>
            </a:r>
            <a:r>
              <a:rPr lang="fr-BE" dirty="0"/>
              <a:t> a more </a:t>
            </a:r>
            <a:r>
              <a:rPr lang="fr-BE" dirty="0" err="1"/>
              <a:t>realistic</a:t>
            </a:r>
            <a:r>
              <a:rPr lang="fr-BE" dirty="0"/>
              <a:t> model for </a:t>
            </a:r>
            <a:r>
              <a:rPr lang="fr-BE" dirty="0" err="1"/>
              <a:t>prosumers</a:t>
            </a:r>
            <a:r>
              <a:rPr lang="fr-BE" dirty="0"/>
              <a:t>’ </a:t>
            </a:r>
            <a:r>
              <a:rPr lang="fr-BE" dirty="0" err="1"/>
              <a:t>reactions</a:t>
            </a:r>
            <a:r>
              <a:rPr lang="fr-BE" dirty="0"/>
              <a:t>:</a:t>
            </a:r>
            <a:endParaRPr lang="fr-BE" sz="2800" dirty="0"/>
          </a:p>
          <a:p>
            <a:pPr marL="0" indent="0">
              <a:buNone/>
            </a:pPr>
            <a:r>
              <a:rPr lang="fr-BE" sz="2800" dirty="0">
                <a:sym typeface="Wingdings" panose="05000000000000000000" pitchFamily="2" charset="2"/>
              </a:rPr>
              <a:t>	 </a:t>
            </a:r>
            <a:r>
              <a:rPr lang="fr-BE" sz="2800" dirty="0"/>
              <a:t>“</a:t>
            </a:r>
            <a:r>
              <a:rPr lang="fr-BE" sz="2800" dirty="0" err="1"/>
              <a:t>Expl</a:t>
            </a:r>
            <a:r>
              <a:rPr lang="en-US" sz="2800" dirty="0" err="1"/>
              <a:t>icit</a:t>
            </a:r>
            <a:r>
              <a:rPr lang="en-US" sz="2800" dirty="0"/>
              <a:t> Local Flexibility Reward Mechanisms for Renewable Energy Communities” (maybe change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488642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med">
        <p159:morph option="byObject"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73266DDA-C986-D1B3-BEE6-B7A2FCC54A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re 30">
            <a:extLst>
              <a:ext uri="{FF2B5EF4-FFF2-40B4-BE49-F238E27FC236}">
                <a16:creationId xmlns:a16="http://schemas.microsoft.com/office/drawing/2014/main" id="{2FE5A4DC-9E88-7499-65F8-1157D707E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approach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38E8E962-7077-D61D-A5B3-4BEA85D419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E730EB95-BE70-559E-B436-5BAD9EF91F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ase case: no community, no flexibility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5FB92474-8429-32AF-5B6B-42AC4F0952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Individual flexibility: every prosumer uses flexibility for own production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A347DC30-7F4A-B9DA-0A84-3F688272CC7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ommunity fixed: a community framework is added with fix profiles from (2)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EDA88546-5CEE-0717-5FDA-1106892C637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Community flex: full bilevel problem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E5A4D9E1-E03F-B509-49D9-9AD72FA234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04643" y="5333000"/>
            <a:ext cx="10004425" cy="1179549"/>
          </a:xfrm>
        </p:spPr>
        <p:txBody>
          <a:bodyPr/>
          <a:lstStyle/>
          <a:p>
            <a:r>
              <a:rPr lang="en-US" dirty="0"/>
              <a:t>This sequential approach should be more realistic</a:t>
            </a:r>
          </a:p>
          <a:p>
            <a:r>
              <a:rPr lang="en-US" dirty="0"/>
              <a:t>The final results will be compared to [1]</a:t>
            </a:r>
          </a:p>
        </p:txBody>
      </p:sp>
    </p:spTree>
    <p:extLst>
      <p:ext uri="{BB962C8B-B14F-4D97-AF65-F5344CB8AC3E}">
        <p14:creationId xmlns:p14="http://schemas.microsoft.com/office/powerpoint/2010/main" val="213683799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med">
        <p159:morph option="byObject"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4CBCA5-D327-F5BF-730E-9B30AF5C4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1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5248512-620D-BB2A-A365-A8ADECFB0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ptimum for the community (Upper-Level) 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B2B56E3-C563-F81D-B9C7-79A6A7ACED57}"/>
              </a:ext>
            </a:extLst>
          </p:cNvPr>
          <p:cNvSpPr txBox="1">
            <a:spLocks/>
          </p:cNvSpPr>
          <p:nvPr/>
        </p:nvSpPr>
        <p:spPr>
          <a:xfrm>
            <a:off x="811644" y="1465325"/>
            <a:ext cx="10406694" cy="1688839"/>
          </a:xfrm>
          <a:prstGeom prst="snipRoundRect">
            <a:avLst>
              <a:gd name="adj1" fmla="val 0"/>
              <a:gd name="adj2" fmla="val 23967"/>
            </a:avLst>
          </a:prstGeom>
          <a:ln w="19050">
            <a:solidFill>
              <a:srgbClr val="007382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fr-BE" dirty="0" err="1"/>
              <a:t>Maximize</a:t>
            </a:r>
            <a:r>
              <a:rPr lang="fr-BE" dirty="0"/>
              <a:t> </a:t>
            </a:r>
            <a:r>
              <a:rPr lang="fr-BE" dirty="0" err="1"/>
              <a:t>flexibility</a:t>
            </a:r>
            <a:r>
              <a:rPr lang="fr-BE" dirty="0"/>
              <a:t> </a:t>
            </a:r>
            <a:r>
              <a:rPr lang="fr-BE" dirty="0" err="1"/>
              <a:t>savings</a:t>
            </a:r>
            <a:r>
              <a:rPr lang="fr-BE" dirty="0"/>
              <a:t> of the full </a:t>
            </a:r>
            <a:r>
              <a:rPr lang="fr-BE" dirty="0" err="1"/>
              <a:t>community</a:t>
            </a:r>
            <a:endParaRPr lang="fr-BE" dirty="0"/>
          </a:p>
          <a:p>
            <a:pPr marL="0" indent="0">
              <a:buFont typeface="Arial" panose="020B0604020202020204" pitchFamily="34" charset="0"/>
              <a:buNone/>
            </a:pPr>
            <a:endParaRPr lang="fr-BE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fr-BE" dirty="0" err="1"/>
              <a:t>Subject</a:t>
            </a:r>
            <a:r>
              <a:rPr lang="fr-BE" dirty="0"/>
              <a:t> to: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EFA9441-7761-67F5-E1CD-F7DE3F7ECC72}"/>
              </a:ext>
            </a:extLst>
          </p:cNvPr>
          <p:cNvSpPr txBox="1">
            <a:spLocks/>
          </p:cNvSpPr>
          <p:nvPr/>
        </p:nvSpPr>
        <p:spPr>
          <a:xfrm>
            <a:off x="2640458" y="2397936"/>
            <a:ext cx="8801542" cy="900000"/>
          </a:xfrm>
          <a:prstGeom prst="snip2DiagRect">
            <a:avLst/>
          </a:prstGeom>
          <a:solidFill>
            <a:schemeClr val="bg1"/>
          </a:solidFill>
          <a:ln w="19050">
            <a:solidFill>
              <a:srgbClr val="00707F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Community costs and exchanges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913CF79-B3CD-96DE-5C17-7FED7A034FAE}"/>
              </a:ext>
            </a:extLst>
          </p:cNvPr>
          <p:cNvSpPr txBox="1">
            <a:spLocks/>
          </p:cNvSpPr>
          <p:nvPr/>
        </p:nvSpPr>
        <p:spPr>
          <a:xfrm>
            <a:off x="2640458" y="4299018"/>
            <a:ext cx="8801542" cy="900000"/>
          </a:xfrm>
          <a:prstGeom prst="snip2DiagRect">
            <a:avLst/>
          </a:prstGeom>
          <a:ln w="19050">
            <a:solidFill>
              <a:srgbClr val="00707F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Remuneration mechanism for flexibility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238CBEB-9AC5-C102-E036-A19CC463BFA3}"/>
              </a:ext>
            </a:extLst>
          </p:cNvPr>
          <p:cNvSpPr txBox="1">
            <a:spLocks/>
          </p:cNvSpPr>
          <p:nvPr/>
        </p:nvSpPr>
        <p:spPr>
          <a:xfrm>
            <a:off x="2640458" y="5252734"/>
            <a:ext cx="8801542" cy="900000"/>
          </a:xfrm>
          <a:prstGeom prst="snip2DiagRect">
            <a:avLst/>
          </a:prstGeom>
          <a:ln w="19050">
            <a:solidFill>
              <a:srgbClr val="00707F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BE" dirty="0"/>
              <a:t>Optimal </a:t>
            </a:r>
            <a:r>
              <a:rPr lang="fr-BE" dirty="0" err="1"/>
              <a:t>members</a:t>
            </a:r>
            <a:r>
              <a:rPr lang="fr-BE" dirty="0"/>
              <a:t> </a:t>
            </a:r>
            <a:r>
              <a:rPr lang="fr-BE" dirty="0" err="1"/>
              <a:t>reaction</a:t>
            </a:r>
            <a:r>
              <a:rPr lang="fr-BE" dirty="0"/>
              <a:t> (</a:t>
            </a:r>
            <a:r>
              <a:rPr lang="fr-BE" dirty="0" err="1"/>
              <a:t>Lower-Level</a:t>
            </a:r>
            <a:r>
              <a:rPr lang="fr-BE" dirty="0"/>
              <a:t>)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1E39A07-DAC5-262D-D47D-935EDE811F6E}"/>
              </a:ext>
            </a:extLst>
          </p:cNvPr>
          <p:cNvSpPr txBox="1">
            <a:spLocks/>
          </p:cNvSpPr>
          <p:nvPr/>
        </p:nvSpPr>
        <p:spPr>
          <a:xfrm>
            <a:off x="2640458" y="3345302"/>
            <a:ext cx="8801542" cy="900000"/>
          </a:xfrm>
          <a:prstGeom prst="snip2DiagRect">
            <a:avLst/>
          </a:prstGeom>
          <a:ln w="19050">
            <a:solidFill>
              <a:srgbClr val="00707F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Flexibility activation rules </a:t>
            </a:r>
          </a:p>
        </p:txBody>
      </p:sp>
    </p:spTree>
    <p:extLst>
      <p:ext uri="{BB962C8B-B14F-4D97-AF65-F5344CB8AC3E}">
        <p14:creationId xmlns:p14="http://schemas.microsoft.com/office/powerpoint/2010/main" val="93211549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med">
        <p159:morph option="byObject"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E117FE4-BEA1-8E46-84DC-B6030F3E60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597502-8295-4388-5DB3-1415F4B9B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1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5F0B686-A221-CFD8-F795-3F5B1B489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BE" dirty="0"/>
              <a:t>Optimal </a:t>
            </a:r>
            <a:r>
              <a:rPr lang="fr-BE" dirty="0" err="1"/>
              <a:t>members</a:t>
            </a:r>
            <a:r>
              <a:rPr lang="fr-BE" dirty="0"/>
              <a:t> </a:t>
            </a:r>
            <a:r>
              <a:rPr lang="fr-BE" dirty="0" err="1"/>
              <a:t>reaction</a:t>
            </a:r>
            <a:r>
              <a:rPr lang="fr-BE" dirty="0"/>
              <a:t> (</a:t>
            </a:r>
            <a:r>
              <a:rPr lang="fr-BE" dirty="0" err="1"/>
              <a:t>Lower-Level</a:t>
            </a:r>
            <a:r>
              <a:rPr lang="fr-BE" dirty="0"/>
              <a:t>)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D2ED71B-09B5-26A0-B9AD-2EC1B5CFE0D0}"/>
              </a:ext>
            </a:extLst>
          </p:cNvPr>
          <p:cNvSpPr txBox="1">
            <a:spLocks/>
          </p:cNvSpPr>
          <p:nvPr/>
        </p:nvSpPr>
        <p:spPr>
          <a:xfrm>
            <a:off x="811644" y="1465325"/>
            <a:ext cx="10406694" cy="1688839"/>
          </a:xfrm>
          <a:prstGeom prst="snipRoundRect">
            <a:avLst>
              <a:gd name="adj1" fmla="val 0"/>
              <a:gd name="adj2" fmla="val 23967"/>
            </a:avLst>
          </a:prstGeom>
          <a:ln w="19050">
            <a:solidFill>
              <a:srgbClr val="007382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fr-BE" dirty="0" err="1"/>
              <a:t>Maximize</a:t>
            </a:r>
            <a:r>
              <a:rPr lang="fr-BE" dirty="0"/>
              <a:t> </a:t>
            </a:r>
            <a:r>
              <a:rPr lang="fr-BE" dirty="0" err="1"/>
              <a:t>individual</a:t>
            </a:r>
            <a:r>
              <a:rPr lang="fr-BE" dirty="0"/>
              <a:t> </a:t>
            </a:r>
            <a:r>
              <a:rPr lang="fr-BE" dirty="0" err="1"/>
              <a:t>savings</a:t>
            </a:r>
            <a:r>
              <a:rPr lang="fr-BE" dirty="0"/>
              <a:t> </a:t>
            </a:r>
            <a:r>
              <a:rPr lang="fr-BE" dirty="0" err="1"/>
              <a:t>considering</a:t>
            </a:r>
            <a:r>
              <a:rPr lang="fr-BE" dirty="0"/>
              <a:t> </a:t>
            </a:r>
            <a:r>
              <a:rPr lang="fr-BE" dirty="0" err="1"/>
              <a:t>discomfort</a:t>
            </a:r>
            <a:endParaRPr lang="fr-BE" dirty="0"/>
          </a:p>
          <a:p>
            <a:pPr marL="0" indent="0">
              <a:buFont typeface="Arial" panose="020B0604020202020204" pitchFamily="34" charset="0"/>
              <a:buNone/>
            </a:pPr>
            <a:endParaRPr lang="fr-BE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fr-BE" dirty="0" err="1"/>
              <a:t>Subject</a:t>
            </a:r>
            <a:r>
              <a:rPr lang="fr-BE" dirty="0"/>
              <a:t> to: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E39B618-D83C-E5D8-1F92-35D45E08CB3B}"/>
              </a:ext>
            </a:extLst>
          </p:cNvPr>
          <p:cNvSpPr txBox="1">
            <a:spLocks/>
          </p:cNvSpPr>
          <p:nvPr/>
        </p:nvSpPr>
        <p:spPr>
          <a:xfrm>
            <a:off x="2640458" y="2397936"/>
            <a:ext cx="8801542" cy="900000"/>
          </a:xfrm>
          <a:prstGeom prst="snip2DiagRect">
            <a:avLst/>
          </a:prstGeom>
          <a:solidFill>
            <a:schemeClr val="bg1"/>
          </a:solidFill>
          <a:ln w="19050">
            <a:solidFill>
              <a:srgbClr val="00707F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Individual cost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C7FA6AE-0554-F999-8859-FE35896276FA}"/>
              </a:ext>
            </a:extLst>
          </p:cNvPr>
          <p:cNvSpPr txBox="1">
            <a:spLocks/>
          </p:cNvSpPr>
          <p:nvPr/>
        </p:nvSpPr>
        <p:spPr>
          <a:xfrm>
            <a:off x="2640458" y="4299018"/>
            <a:ext cx="8801542" cy="900000"/>
          </a:xfrm>
          <a:prstGeom prst="snip2DiagRect">
            <a:avLst/>
          </a:prstGeom>
          <a:ln w="19050">
            <a:solidFill>
              <a:srgbClr val="00707F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Flexible appliances constraints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5CBFB191-8FA5-601F-DBBC-B16D7644C99D}"/>
              </a:ext>
            </a:extLst>
          </p:cNvPr>
          <p:cNvSpPr txBox="1">
            <a:spLocks/>
          </p:cNvSpPr>
          <p:nvPr/>
        </p:nvSpPr>
        <p:spPr>
          <a:xfrm>
            <a:off x="2640458" y="5252734"/>
            <a:ext cx="8801542" cy="900000"/>
          </a:xfrm>
          <a:prstGeom prst="snip2DiagRect">
            <a:avLst/>
          </a:prstGeom>
          <a:ln w="19050">
            <a:solidFill>
              <a:srgbClr val="00707F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BE" dirty="0" err="1"/>
              <a:t>Discomfort</a:t>
            </a:r>
            <a:r>
              <a:rPr lang="fr-BE" dirty="0"/>
              <a:t> </a:t>
            </a:r>
            <a:r>
              <a:rPr lang="fr-BE" dirty="0" err="1"/>
              <a:t>equations</a:t>
            </a:r>
            <a:endParaRPr lang="fr-BE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55FE794-E16B-D612-F4FF-9B746BCCF2B9}"/>
              </a:ext>
            </a:extLst>
          </p:cNvPr>
          <p:cNvSpPr txBox="1">
            <a:spLocks/>
          </p:cNvSpPr>
          <p:nvPr/>
        </p:nvSpPr>
        <p:spPr>
          <a:xfrm>
            <a:off x="2640458" y="3345302"/>
            <a:ext cx="8801542" cy="900000"/>
          </a:xfrm>
          <a:prstGeom prst="snip2DiagRect">
            <a:avLst/>
          </a:prstGeom>
          <a:ln w="19050">
            <a:solidFill>
              <a:srgbClr val="00707F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Flexible capacity model</a:t>
            </a:r>
          </a:p>
        </p:txBody>
      </p:sp>
    </p:spTree>
    <p:extLst>
      <p:ext uri="{BB962C8B-B14F-4D97-AF65-F5344CB8AC3E}">
        <p14:creationId xmlns:p14="http://schemas.microsoft.com/office/powerpoint/2010/main" val="26648365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med">
        <p159:morph option="byObject"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280E1D-7CA5-4660-4166-0FBA7D6D87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1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BC7542-59C7-39AD-12CA-F2CD079CB1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33263" y="1517604"/>
            <a:ext cx="4340000" cy="4779766"/>
          </a:xfrm>
        </p:spPr>
        <p:txBody>
          <a:bodyPr>
            <a:normAutofit/>
          </a:bodyPr>
          <a:lstStyle/>
          <a:p>
            <a:r>
              <a:rPr lang="en-US" sz="2600" dirty="0"/>
              <a:t>Ensures global optimality</a:t>
            </a:r>
          </a:p>
          <a:p>
            <a:r>
              <a:rPr lang="en-US" sz="2600" dirty="0"/>
              <a:t>Decides how much flexible capacity is valued</a:t>
            </a:r>
          </a:p>
          <a:p>
            <a:pPr marL="0" indent="0">
              <a:buNone/>
            </a:pPr>
            <a:endParaRPr lang="en-US" sz="2600" dirty="0"/>
          </a:p>
          <a:p>
            <a:r>
              <a:rPr lang="en-US" sz="2600" dirty="0"/>
              <a:t>Decides the activation of individual flexibility</a:t>
            </a:r>
          </a:p>
          <a:p>
            <a:endParaRPr lang="en-US" sz="2600" dirty="0"/>
          </a:p>
          <a:p>
            <a:r>
              <a:rPr lang="en-US" sz="2600" dirty="0"/>
              <a:t>Defines individual bills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509F54-477A-BF2A-FEA6-ADC57EA940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Upper-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0B9EFD-8EAB-0C65-DBA0-3BF17E8E01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25949" y="1516362"/>
            <a:ext cx="4340000" cy="4779766"/>
          </a:xfrm>
        </p:spPr>
        <p:txBody>
          <a:bodyPr>
            <a:normAutofit fontScale="92500"/>
          </a:bodyPr>
          <a:lstStyle/>
          <a:p>
            <a:r>
              <a:rPr lang="en-US" dirty="0"/>
              <a:t>Ensures individual optimality</a:t>
            </a:r>
          </a:p>
          <a:p>
            <a:r>
              <a:rPr lang="en-US" dirty="0"/>
              <a:t>Models the reaction of each members to the price signal</a:t>
            </a:r>
          </a:p>
          <a:p>
            <a:r>
              <a:rPr lang="en-US" dirty="0"/>
              <a:t>Determines flexible capacity depending on discomfort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Final activation should be possib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F86EABB-93E1-48C8-74F1-A774393D03C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ower-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2B73FE8-2768-0F59-3790-A9A143EF9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actions between the two levels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CC7ABFD5-01D1-6544-4F9A-0B7BE8DC3A32}"/>
              </a:ext>
            </a:extLst>
          </p:cNvPr>
          <p:cNvSpPr/>
          <p:nvPr/>
        </p:nvSpPr>
        <p:spPr>
          <a:xfrm>
            <a:off x="5385913" y="1780725"/>
            <a:ext cx="1445476" cy="127482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ices for capacity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E499B18E-9174-38A6-2804-9DC26046E77D}"/>
              </a:ext>
            </a:extLst>
          </p:cNvPr>
          <p:cNvSpPr/>
          <p:nvPr/>
        </p:nvSpPr>
        <p:spPr>
          <a:xfrm flipH="1">
            <a:off x="5367823" y="3151927"/>
            <a:ext cx="1445476" cy="12744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apacity of users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D480FDDB-FB17-A4D4-5C71-EAAAE452EDD3}"/>
              </a:ext>
            </a:extLst>
          </p:cNvPr>
          <p:cNvSpPr/>
          <p:nvPr/>
        </p:nvSpPr>
        <p:spPr>
          <a:xfrm>
            <a:off x="5373263" y="4522704"/>
            <a:ext cx="1445476" cy="12744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ctivation of users</a:t>
            </a:r>
          </a:p>
        </p:txBody>
      </p:sp>
    </p:spTree>
    <p:extLst>
      <p:ext uri="{BB962C8B-B14F-4D97-AF65-F5344CB8AC3E}">
        <p14:creationId xmlns:p14="http://schemas.microsoft.com/office/powerpoint/2010/main" val="81869162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med">
        <p159:morph option="byObject"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C2DD5798-DA79-9144-382B-CCE9190EF5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2</a:t>
            </a:fld>
            <a:endParaRPr lang="en-US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B864D99-1C65-2CCE-7346-8246E2AFE9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sFlex</a:t>
            </a:r>
            <a:r>
              <a:rPr lang="en-US" dirty="0"/>
              <a:t> architectur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E2E2C35-5287-803B-97EF-FA7710A5D8E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6469"/>
          <a:stretch/>
        </p:blipFill>
        <p:spPr>
          <a:xfrm>
            <a:off x="2007972" y="905086"/>
            <a:ext cx="10184027" cy="5446529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556E5EB4-DC30-32D2-8401-704D72AF6D2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302" t="25921" r="83985" b="20990"/>
          <a:stretch/>
        </p:blipFill>
        <p:spPr>
          <a:xfrm>
            <a:off x="646337" y="2316892"/>
            <a:ext cx="1306032" cy="289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5562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D90D31B1-633F-2DDE-2FE8-84E6F4CB26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D5C1A1-9AC4-E4CD-F65C-EC6D62161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2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718108-94E0-D630-86EC-A3582AC251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7239" y="1340597"/>
            <a:ext cx="3510000" cy="4779766"/>
          </a:xfrm>
        </p:spPr>
        <p:txBody>
          <a:bodyPr/>
          <a:lstStyle/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r>
              <a:rPr lang="en-US" dirty="0"/>
              <a:t> Every activation is identical </a:t>
            </a:r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r>
              <a:rPr lang="en-US" dirty="0"/>
              <a:t> This can lead to suboptimaliti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35ABB46-A286-D628-08D5-649CC8EE6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82239" y="1080500"/>
            <a:ext cx="2340000" cy="523220"/>
          </a:xfrm>
        </p:spPr>
        <p:txBody>
          <a:bodyPr anchor="ctr"/>
          <a:lstStyle/>
          <a:p>
            <a:r>
              <a:rPr lang="en-US" dirty="0"/>
              <a:t>Equa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3B4EA95-56C0-17A5-B81E-4AB6CF3BA67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84763" y="1347741"/>
            <a:ext cx="3510000" cy="4779766"/>
          </a:xfrm>
        </p:spPr>
        <p:txBody>
          <a:bodyPr/>
          <a:lstStyle/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r>
              <a:rPr lang="en-US" dirty="0"/>
              <a:t> Equal sharing multiple times</a:t>
            </a:r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r>
              <a:rPr lang="en-US" dirty="0"/>
              <a:t> Favors “small” member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1A530B0-51DC-BE98-E766-89FDDA77B1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69763" y="1087644"/>
            <a:ext cx="2340000" cy="523220"/>
          </a:xfrm>
        </p:spPr>
        <p:txBody>
          <a:bodyPr anchor="ctr"/>
          <a:lstStyle/>
          <a:p>
            <a:r>
              <a:rPr lang="en-US" dirty="0"/>
              <a:t>Cascad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8DCB9C3-3B07-A4D1-0084-15CC94C522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41001" y="1340597"/>
            <a:ext cx="3510000" cy="4779766"/>
          </a:xfrm>
        </p:spPr>
        <p:txBody>
          <a:bodyPr/>
          <a:lstStyle/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r>
              <a:rPr lang="en-US" dirty="0"/>
              <a:t> Identical ratio of offered capacity</a:t>
            </a:r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r>
              <a:rPr lang="en-US" dirty="0"/>
              <a:t> Favors “big” member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377D920-5D51-4900-DEDC-98EA8F16A9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26001" y="1080500"/>
            <a:ext cx="2340000" cy="523220"/>
          </a:xfrm>
        </p:spPr>
        <p:txBody>
          <a:bodyPr anchor="ctr"/>
          <a:lstStyle/>
          <a:p>
            <a:r>
              <a:rPr lang="en-US" dirty="0"/>
              <a:t>Proportiona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60812CC-D20F-F034-529A-3F3EECDE34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for activation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7C2BE49-7934-19AC-3535-82884BAF18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47464" y="3531417"/>
            <a:ext cx="1819275" cy="2524125"/>
          </a:xfrm>
          <a:prstGeom prst="rect">
            <a:avLst/>
          </a:prstGeom>
        </p:spPr>
      </p:pic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20EAAAB9-AD37-ABF6-1851-E31CEC8014BD}"/>
              </a:ext>
            </a:extLst>
          </p:cNvPr>
          <p:cNvSpPr/>
          <p:nvPr/>
        </p:nvSpPr>
        <p:spPr>
          <a:xfrm>
            <a:off x="1542601" y="3531417"/>
            <a:ext cx="1819275" cy="2524125"/>
          </a:xfrm>
          <a:custGeom>
            <a:avLst/>
            <a:gdLst>
              <a:gd name="connsiteX0" fmla="*/ 0 w 1819275"/>
              <a:gd name="connsiteY0" fmla="*/ 0 h 2524125"/>
              <a:gd name="connsiteX1" fmla="*/ 1819275 w 1819275"/>
              <a:gd name="connsiteY1" fmla="*/ 0 h 2524125"/>
              <a:gd name="connsiteX2" fmla="*/ 1819275 w 1819275"/>
              <a:gd name="connsiteY2" fmla="*/ 2524125 h 2524125"/>
              <a:gd name="connsiteX3" fmla="*/ 0 w 1819275"/>
              <a:gd name="connsiteY3" fmla="*/ 2524125 h 2524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19275" h="2524125">
                <a:moveTo>
                  <a:pt x="0" y="0"/>
                </a:moveTo>
                <a:lnTo>
                  <a:pt x="1819275" y="0"/>
                </a:lnTo>
                <a:lnTo>
                  <a:pt x="1819275" y="2524125"/>
                </a:lnTo>
                <a:lnTo>
                  <a:pt x="0" y="2524125"/>
                </a:ln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0" name="Graphic 15">
            <a:extLst>
              <a:ext uri="{FF2B5EF4-FFF2-40B4-BE49-F238E27FC236}">
                <a16:creationId xmlns:a16="http://schemas.microsoft.com/office/drawing/2014/main" id="{0B8C24C8-8650-6AF6-4F02-4EEE0A574EC2}"/>
              </a:ext>
            </a:extLst>
          </p:cNvPr>
          <p:cNvGrpSpPr/>
          <p:nvPr/>
        </p:nvGrpSpPr>
        <p:grpSpPr>
          <a:xfrm>
            <a:off x="1542601" y="3531417"/>
            <a:ext cx="1809750" cy="2509837"/>
            <a:chOff x="1542601" y="3531417"/>
            <a:chExt cx="1809750" cy="2509837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3BE3D1C-C548-3476-42DD-B330645F3B2C}"/>
                </a:ext>
              </a:extLst>
            </p:cNvPr>
            <p:cNvSpPr/>
            <p:nvPr/>
          </p:nvSpPr>
          <p:spPr>
            <a:xfrm>
              <a:off x="1542601" y="3531417"/>
              <a:ext cx="285750" cy="2286000"/>
            </a:xfrm>
            <a:custGeom>
              <a:avLst/>
              <a:gdLst>
                <a:gd name="connsiteX0" fmla="*/ 0 w 285750"/>
                <a:gd name="connsiteY0" fmla="*/ 0 h 2286000"/>
                <a:gd name="connsiteX1" fmla="*/ 285750 w 285750"/>
                <a:gd name="connsiteY1" fmla="*/ 0 h 2286000"/>
                <a:gd name="connsiteX2" fmla="*/ 285750 w 285750"/>
                <a:gd name="connsiteY2" fmla="*/ 2286000 h 2286000"/>
                <a:gd name="connsiteX3" fmla="*/ 0 w 285750"/>
                <a:gd name="connsiteY3" fmla="*/ 2286000 h 228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0" h="2286000">
                  <a:moveTo>
                    <a:pt x="0" y="0"/>
                  </a:moveTo>
                  <a:lnTo>
                    <a:pt x="285750" y="0"/>
                  </a:lnTo>
                  <a:lnTo>
                    <a:pt x="285750" y="2286000"/>
                  </a:lnTo>
                  <a:lnTo>
                    <a:pt x="0" y="228600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BBFD5E0-D208-42A0-A270-DF94AE2A419F}"/>
                </a:ext>
              </a:extLst>
            </p:cNvPr>
            <p:cNvSpPr/>
            <p:nvPr/>
          </p:nvSpPr>
          <p:spPr>
            <a:xfrm>
              <a:off x="1923601" y="3912417"/>
              <a:ext cx="285750" cy="1905000"/>
            </a:xfrm>
            <a:custGeom>
              <a:avLst/>
              <a:gdLst>
                <a:gd name="connsiteX0" fmla="*/ 0 w 285750"/>
                <a:gd name="connsiteY0" fmla="*/ 0 h 1905000"/>
                <a:gd name="connsiteX1" fmla="*/ 285750 w 285750"/>
                <a:gd name="connsiteY1" fmla="*/ 0 h 1905000"/>
                <a:gd name="connsiteX2" fmla="*/ 285750 w 285750"/>
                <a:gd name="connsiteY2" fmla="*/ 1905000 h 1905000"/>
                <a:gd name="connsiteX3" fmla="*/ 0 w 285750"/>
                <a:gd name="connsiteY3" fmla="*/ 190500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0" h="1905000">
                  <a:moveTo>
                    <a:pt x="0" y="0"/>
                  </a:moveTo>
                  <a:lnTo>
                    <a:pt x="285750" y="0"/>
                  </a:lnTo>
                  <a:lnTo>
                    <a:pt x="285750" y="1905000"/>
                  </a:lnTo>
                  <a:lnTo>
                    <a:pt x="0" y="190500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27940AD-0387-E738-C063-F8BDFD6CEB64}"/>
                </a:ext>
              </a:extLst>
            </p:cNvPr>
            <p:cNvSpPr/>
            <p:nvPr/>
          </p:nvSpPr>
          <p:spPr>
            <a:xfrm>
              <a:off x="3066601" y="5055417"/>
              <a:ext cx="285750" cy="762000"/>
            </a:xfrm>
            <a:custGeom>
              <a:avLst/>
              <a:gdLst>
                <a:gd name="connsiteX0" fmla="*/ 0 w 285750"/>
                <a:gd name="connsiteY0" fmla="*/ 0 h 762000"/>
                <a:gd name="connsiteX1" fmla="*/ 285750 w 285750"/>
                <a:gd name="connsiteY1" fmla="*/ 0 h 762000"/>
                <a:gd name="connsiteX2" fmla="*/ 285750 w 285750"/>
                <a:gd name="connsiteY2" fmla="*/ 762000 h 762000"/>
                <a:gd name="connsiteX3" fmla="*/ 0 w 285750"/>
                <a:gd name="connsiteY3" fmla="*/ 76200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0" h="762000">
                  <a:moveTo>
                    <a:pt x="0" y="0"/>
                  </a:moveTo>
                  <a:lnTo>
                    <a:pt x="285750" y="0"/>
                  </a:lnTo>
                  <a:lnTo>
                    <a:pt x="285750" y="762000"/>
                  </a:lnTo>
                  <a:lnTo>
                    <a:pt x="0" y="76200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09C95E5-9924-0022-126A-07482C16A439}"/>
                </a:ext>
              </a:extLst>
            </p:cNvPr>
            <p:cNvSpPr/>
            <p:nvPr/>
          </p:nvSpPr>
          <p:spPr>
            <a:xfrm>
              <a:off x="2304601" y="5245917"/>
              <a:ext cx="285750" cy="571500"/>
            </a:xfrm>
            <a:custGeom>
              <a:avLst/>
              <a:gdLst>
                <a:gd name="connsiteX0" fmla="*/ 0 w 285750"/>
                <a:gd name="connsiteY0" fmla="*/ 0 h 571500"/>
                <a:gd name="connsiteX1" fmla="*/ 285750 w 285750"/>
                <a:gd name="connsiteY1" fmla="*/ 0 h 571500"/>
                <a:gd name="connsiteX2" fmla="*/ 285750 w 285750"/>
                <a:gd name="connsiteY2" fmla="*/ 571500 h 571500"/>
                <a:gd name="connsiteX3" fmla="*/ 0 w 285750"/>
                <a:gd name="connsiteY3" fmla="*/ 57150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0" h="571500">
                  <a:moveTo>
                    <a:pt x="0" y="0"/>
                  </a:moveTo>
                  <a:lnTo>
                    <a:pt x="285750" y="0"/>
                  </a:lnTo>
                  <a:lnTo>
                    <a:pt x="285750" y="571500"/>
                  </a:lnTo>
                  <a:lnTo>
                    <a:pt x="0" y="57150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33702FF5-3FFC-6B78-7DAB-749AEE812BB4}"/>
                </a:ext>
              </a:extLst>
            </p:cNvPr>
            <p:cNvSpPr/>
            <p:nvPr/>
          </p:nvSpPr>
          <p:spPr>
            <a:xfrm>
              <a:off x="2685601" y="3721917"/>
              <a:ext cx="285750" cy="2095500"/>
            </a:xfrm>
            <a:custGeom>
              <a:avLst/>
              <a:gdLst>
                <a:gd name="connsiteX0" fmla="*/ 0 w 285750"/>
                <a:gd name="connsiteY0" fmla="*/ 0 h 2095500"/>
                <a:gd name="connsiteX1" fmla="*/ 285750 w 285750"/>
                <a:gd name="connsiteY1" fmla="*/ 0 h 2095500"/>
                <a:gd name="connsiteX2" fmla="*/ 285750 w 285750"/>
                <a:gd name="connsiteY2" fmla="*/ 2095500 h 2095500"/>
                <a:gd name="connsiteX3" fmla="*/ 0 w 285750"/>
                <a:gd name="connsiteY3" fmla="*/ 2095500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0" h="2095500">
                  <a:moveTo>
                    <a:pt x="0" y="0"/>
                  </a:moveTo>
                  <a:lnTo>
                    <a:pt x="285750" y="0"/>
                  </a:lnTo>
                  <a:lnTo>
                    <a:pt x="285750" y="2095500"/>
                  </a:lnTo>
                  <a:lnTo>
                    <a:pt x="0" y="209550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1F797338-F852-8184-6745-A45444B1B8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85463" y="5850754"/>
              <a:ext cx="190500" cy="190500"/>
            </a:xfrm>
            <a:custGeom>
              <a:avLst/>
              <a:gdLst>
                <a:gd name="connsiteX0" fmla="*/ 0 w 190500"/>
                <a:gd name="connsiteY0" fmla="*/ 0 h 190500"/>
                <a:gd name="connsiteX1" fmla="*/ 190500 w 190500"/>
                <a:gd name="connsiteY1" fmla="*/ 0 h 190500"/>
                <a:gd name="connsiteX2" fmla="*/ 190500 w 190500"/>
                <a:gd name="connsiteY2" fmla="*/ 190500 h 190500"/>
                <a:gd name="connsiteX3" fmla="*/ 0 w 190500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190500">
                  <a:moveTo>
                    <a:pt x="0" y="0"/>
                  </a:moveTo>
                  <a:lnTo>
                    <a:pt x="190500" y="0"/>
                  </a:lnTo>
                  <a:lnTo>
                    <a:pt x="190500" y="190500"/>
                  </a:lnTo>
                  <a:lnTo>
                    <a:pt x="0" y="190500"/>
                  </a:lnTo>
                  <a:close/>
                </a:path>
              </a:pathLst>
            </a:cu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06EA1A0A-2CA2-2C27-5D4D-16A0BE47F98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966463" y="5850754"/>
              <a:ext cx="190500" cy="190500"/>
            </a:xfrm>
            <a:custGeom>
              <a:avLst/>
              <a:gdLst>
                <a:gd name="connsiteX0" fmla="*/ 0 w 190500"/>
                <a:gd name="connsiteY0" fmla="*/ 0 h 190500"/>
                <a:gd name="connsiteX1" fmla="*/ 190500 w 190500"/>
                <a:gd name="connsiteY1" fmla="*/ 0 h 190500"/>
                <a:gd name="connsiteX2" fmla="*/ 190500 w 190500"/>
                <a:gd name="connsiteY2" fmla="*/ 190500 h 190500"/>
                <a:gd name="connsiteX3" fmla="*/ 0 w 190500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190500">
                  <a:moveTo>
                    <a:pt x="0" y="0"/>
                  </a:moveTo>
                  <a:lnTo>
                    <a:pt x="190500" y="0"/>
                  </a:lnTo>
                  <a:lnTo>
                    <a:pt x="190500" y="190500"/>
                  </a:lnTo>
                  <a:lnTo>
                    <a:pt x="0" y="190500"/>
                  </a:lnTo>
                  <a:close/>
                </a:path>
              </a:pathLst>
            </a:cu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D9A91D11-999D-1D13-AF7E-6CE243D9505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109463" y="5850754"/>
              <a:ext cx="190500" cy="190500"/>
            </a:xfrm>
            <a:custGeom>
              <a:avLst/>
              <a:gdLst>
                <a:gd name="connsiteX0" fmla="*/ 0 w 190500"/>
                <a:gd name="connsiteY0" fmla="*/ 0 h 190500"/>
                <a:gd name="connsiteX1" fmla="*/ 190500 w 190500"/>
                <a:gd name="connsiteY1" fmla="*/ 0 h 190500"/>
                <a:gd name="connsiteX2" fmla="*/ 190500 w 190500"/>
                <a:gd name="connsiteY2" fmla="*/ 190500 h 190500"/>
                <a:gd name="connsiteX3" fmla="*/ 0 w 190500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190500">
                  <a:moveTo>
                    <a:pt x="0" y="0"/>
                  </a:moveTo>
                  <a:lnTo>
                    <a:pt x="190500" y="0"/>
                  </a:lnTo>
                  <a:lnTo>
                    <a:pt x="190500" y="190500"/>
                  </a:lnTo>
                  <a:lnTo>
                    <a:pt x="0" y="190500"/>
                  </a:lnTo>
                  <a:close/>
                </a:path>
              </a:pathLst>
            </a:cu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34544543-FC95-6416-87D4-1C3F76006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47463" y="5850754"/>
              <a:ext cx="190500" cy="190500"/>
            </a:xfrm>
            <a:custGeom>
              <a:avLst/>
              <a:gdLst>
                <a:gd name="connsiteX0" fmla="*/ 0 w 190500"/>
                <a:gd name="connsiteY0" fmla="*/ 0 h 190500"/>
                <a:gd name="connsiteX1" fmla="*/ 190500 w 190500"/>
                <a:gd name="connsiteY1" fmla="*/ 0 h 190500"/>
                <a:gd name="connsiteX2" fmla="*/ 190500 w 190500"/>
                <a:gd name="connsiteY2" fmla="*/ 190500 h 190500"/>
                <a:gd name="connsiteX3" fmla="*/ 0 w 190500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190500">
                  <a:moveTo>
                    <a:pt x="0" y="0"/>
                  </a:moveTo>
                  <a:lnTo>
                    <a:pt x="190500" y="0"/>
                  </a:lnTo>
                  <a:lnTo>
                    <a:pt x="190500" y="190500"/>
                  </a:lnTo>
                  <a:lnTo>
                    <a:pt x="0" y="190500"/>
                  </a:lnTo>
                  <a:close/>
                </a:path>
              </a:pathLst>
            </a:cu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3BFEFA7C-0759-2FED-1BF9-C1353EABD7B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728463" y="5850754"/>
              <a:ext cx="190500" cy="190500"/>
            </a:xfrm>
            <a:custGeom>
              <a:avLst/>
              <a:gdLst>
                <a:gd name="connsiteX0" fmla="*/ 0 w 190500"/>
                <a:gd name="connsiteY0" fmla="*/ 0 h 190500"/>
                <a:gd name="connsiteX1" fmla="*/ 190500 w 190500"/>
                <a:gd name="connsiteY1" fmla="*/ 0 h 190500"/>
                <a:gd name="connsiteX2" fmla="*/ 190500 w 190500"/>
                <a:gd name="connsiteY2" fmla="*/ 190500 h 190500"/>
                <a:gd name="connsiteX3" fmla="*/ 0 w 190500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190500">
                  <a:moveTo>
                    <a:pt x="0" y="0"/>
                  </a:moveTo>
                  <a:lnTo>
                    <a:pt x="190500" y="0"/>
                  </a:lnTo>
                  <a:lnTo>
                    <a:pt x="190500" y="190500"/>
                  </a:lnTo>
                  <a:lnTo>
                    <a:pt x="0" y="190500"/>
                  </a:lnTo>
                  <a:close/>
                </a:path>
              </a:pathLst>
            </a:custGeom>
          </p:spPr>
        </p:pic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846ADDD-AFF9-3BC4-5B70-FCA155B4BBCC}"/>
                </a:ext>
              </a:extLst>
            </p:cNvPr>
            <p:cNvSpPr/>
            <p:nvPr/>
          </p:nvSpPr>
          <p:spPr>
            <a:xfrm>
              <a:off x="1542601" y="5245917"/>
              <a:ext cx="285750" cy="571500"/>
            </a:xfrm>
            <a:custGeom>
              <a:avLst/>
              <a:gdLst>
                <a:gd name="connsiteX0" fmla="*/ 0 w 285750"/>
                <a:gd name="connsiteY0" fmla="*/ 0 h 571500"/>
                <a:gd name="connsiteX1" fmla="*/ 285750 w 285750"/>
                <a:gd name="connsiteY1" fmla="*/ 0 h 571500"/>
                <a:gd name="connsiteX2" fmla="*/ 285750 w 285750"/>
                <a:gd name="connsiteY2" fmla="*/ 571500 h 571500"/>
                <a:gd name="connsiteX3" fmla="*/ 0 w 285750"/>
                <a:gd name="connsiteY3" fmla="*/ 57150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0" h="571500">
                  <a:moveTo>
                    <a:pt x="0" y="0"/>
                  </a:moveTo>
                  <a:lnTo>
                    <a:pt x="285750" y="0"/>
                  </a:lnTo>
                  <a:lnTo>
                    <a:pt x="285750" y="571500"/>
                  </a:lnTo>
                  <a:lnTo>
                    <a:pt x="0" y="571500"/>
                  </a:lnTo>
                  <a:close/>
                </a:path>
              </a:pathLst>
            </a:custGeom>
            <a:solidFill>
              <a:srgbClr val="DAE8FC"/>
            </a:solidFill>
            <a:ln w="9525" cap="flat">
              <a:solidFill>
                <a:srgbClr val="6C8E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85990CE-12B0-F51D-825A-18CF851DDB3E}"/>
                </a:ext>
              </a:extLst>
            </p:cNvPr>
            <p:cNvSpPr/>
            <p:nvPr/>
          </p:nvSpPr>
          <p:spPr>
            <a:xfrm>
              <a:off x="1923601" y="5245917"/>
              <a:ext cx="285750" cy="571500"/>
            </a:xfrm>
            <a:custGeom>
              <a:avLst/>
              <a:gdLst>
                <a:gd name="connsiteX0" fmla="*/ 0 w 285750"/>
                <a:gd name="connsiteY0" fmla="*/ 0 h 571500"/>
                <a:gd name="connsiteX1" fmla="*/ 285750 w 285750"/>
                <a:gd name="connsiteY1" fmla="*/ 0 h 571500"/>
                <a:gd name="connsiteX2" fmla="*/ 285750 w 285750"/>
                <a:gd name="connsiteY2" fmla="*/ 571500 h 571500"/>
                <a:gd name="connsiteX3" fmla="*/ 0 w 285750"/>
                <a:gd name="connsiteY3" fmla="*/ 57150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0" h="571500">
                  <a:moveTo>
                    <a:pt x="0" y="0"/>
                  </a:moveTo>
                  <a:lnTo>
                    <a:pt x="285750" y="0"/>
                  </a:lnTo>
                  <a:lnTo>
                    <a:pt x="285750" y="571500"/>
                  </a:lnTo>
                  <a:lnTo>
                    <a:pt x="0" y="571500"/>
                  </a:lnTo>
                  <a:close/>
                </a:path>
              </a:pathLst>
            </a:custGeom>
            <a:solidFill>
              <a:srgbClr val="DAE8FC"/>
            </a:solidFill>
            <a:ln w="9525" cap="flat">
              <a:solidFill>
                <a:srgbClr val="6C8E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FC1F85B-93E9-009D-1951-174CE38ED2FD}"/>
                </a:ext>
              </a:extLst>
            </p:cNvPr>
            <p:cNvSpPr/>
            <p:nvPr/>
          </p:nvSpPr>
          <p:spPr>
            <a:xfrm>
              <a:off x="2304601" y="5245917"/>
              <a:ext cx="285750" cy="571500"/>
            </a:xfrm>
            <a:custGeom>
              <a:avLst/>
              <a:gdLst>
                <a:gd name="connsiteX0" fmla="*/ 0 w 285750"/>
                <a:gd name="connsiteY0" fmla="*/ 0 h 571500"/>
                <a:gd name="connsiteX1" fmla="*/ 285750 w 285750"/>
                <a:gd name="connsiteY1" fmla="*/ 0 h 571500"/>
                <a:gd name="connsiteX2" fmla="*/ 285750 w 285750"/>
                <a:gd name="connsiteY2" fmla="*/ 571500 h 571500"/>
                <a:gd name="connsiteX3" fmla="*/ 0 w 285750"/>
                <a:gd name="connsiteY3" fmla="*/ 57150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0" h="571500">
                  <a:moveTo>
                    <a:pt x="0" y="0"/>
                  </a:moveTo>
                  <a:lnTo>
                    <a:pt x="285750" y="0"/>
                  </a:lnTo>
                  <a:lnTo>
                    <a:pt x="285750" y="571500"/>
                  </a:lnTo>
                  <a:lnTo>
                    <a:pt x="0" y="571500"/>
                  </a:lnTo>
                  <a:close/>
                </a:path>
              </a:pathLst>
            </a:custGeom>
            <a:solidFill>
              <a:srgbClr val="DAE8FC"/>
            </a:solidFill>
            <a:ln w="9525" cap="flat">
              <a:solidFill>
                <a:srgbClr val="6C8E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104D013-6427-92FF-FD79-F9D9D536C908}"/>
                </a:ext>
              </a:extLst>
            </p:cNvPr>
            <p:cNvSpPr/>
            <p:nvPr/>
          </p:nvSpPr>
          <p:spPr>
            <a:xfrm>
              <a:off x="2685601" y="5245917"/>
              <a:ext cx="285750" cy="571500"/>
            </a:xfrm>
            <a:custGeom>
              <a:avLst/>
              <a:gdLst>
                <a:gd name="connsiteX0" fmla="*/ 0 w 285750"/>
                <a:gd name="connsiteY0" fmla="*/ 0 h 571500"/>
                <a:gd name="connsiteX1" fmla="*/ 285750 w 285750"/>
                <a:gd name="connsiteY1" fmla="*/ 0 h 571500"/>
                <a:gd name="connsiteX2" fmla="*/ 285750 w 285750"/>
                <a:gd name="connsiteY2" fmla="*/ 571500 h 571500"/>
                <a:gd name="connsiteX3" fmla="*/ 0 w 285750"/>
                <a:gd name="connsiteY3" fmla="*/ 57150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0" h="571500">
                  <a:moveTo>
                    <a:pt x="0" y="0"/>
                  </a:moveTo>
                  <a:lnTo>
                    <a:pt x="285750" y="0"/>
                  </a:lnTo>
                  <a:lnTo>
                    <a:pt x="285750" y="571500"/>
                  </a:lnTo>
                  <a:lnTo>
                    <a:pt x="0" y="571500"/>
                  </a:lnTo>
                  <a:close/>
                </a:path>
              </a:pathLst>
            </a:custGeom>
            <a:solidFill>
              <a:srgbClr val="DAE8FC"/>
            </a:solidFill>
            <a:ln w="9525" cap="flat">
              <a:solidFill>
                <a:srgbClr val="6C8E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01222FD-2C59-1151-E44F-2D9AAE9C52FA}"/>
                </a:ext>
              </a:extLst>
            </p:cNvPr>
            <p:cNvSpPr/>
            <p:nvPr/>
          </p:nvSpPr>
          <p:spPr>
            <a:xfrm>
              <a:off x="3066601" y="5245917"/>
              <a:ext cx="285750" cy="571500"/>
            </a:xfrm>
            <a:custGeom>
              <a:avLst/>
              <a:gdLst>
                <a:gd name="connsiteX0" fmla="*/ 0 w 285750"/>
                <a:gd name="connsiteY0" fmla="*/ 0 h 571500"/>
                <a:gd name="connsiteX1" fmla="*/ 285750 w 285750"/>
                <a:gd name="connsiteY1" fmla="*/ 0 h 571500"/>
                <a:gd name="connsiteX2" fmla="*/ 285750 w 285750"/>
                <a:gd name="connsiteY2" fmla="*/ 571500 h 571500"/>
                <a:gd name="connsiteX3" fmla="*/ 0 w 285750"/>
                <a:gd name="connsiteY3" fmla="*/ 57150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0" h="571500">
                  <a:moveTo>
                    <a:pt x="0" y="0"/>
                  </a:moveTo>
                  <a:lnTo>
                    <a:pt x="285750" y="0"/>
                  </a:lnTo>
                  <a:lnTo>
                    <a:pt x="285750" y="571500"/>
                  </a:lnTo>
                  <a:lnTo>
                    <a:pt x="0" y="571500"/>
                  </a:lnTo>
                  <a:close/>
                </a:path>
              </a:pathLst>
            </a:custGeom>
            <a:solidFill>
              <a:srgbClr val="DAE8FC"/>
            </a:solidFill>
            <a:ln w="9525" cap="flat">
              <a:solidFill>
                <a:srgbClr val="6C8E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8" name="Graphic 17">
            <a:extLst>
              <a:ext uri="{FF2B5EF4-FFF2-40B4-BE49-F238E27FC236}">
                <a16:creationId xmlns:a16="http://schemas.microsoft.com/office/drawing/2014/main" id="{AE797231-9078-83EE-7C43-E55DE4DA95F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30124" y="3531417"/>
            <a:ext cx="1819275" cy="2524125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CE239607-E7E9-A01F-3037-A298BEBAEF93}"/>
              </a:ext>
            </a:extLst>
          </p:cNvPr>
          <p:cNvGrpSpPr/>
          <p:nvPr/>
        </p:nvGrpSpPr>
        <p:grpSpPr>
          <a:xfrm>
            <a:off x="3503498" y="6255047"/>
            <a:ext cx="5185005" cy="365125"/>
            <a:chOff x="3447847" y="6382047"/>
            <a:chExt cx="5185005" cy="365125"/>
          </a:xfrm>
        </p:grpSpPr>
        <p:sp>
          <p:nvSpPr>
            <p:cNvPr id="21" name="Text Placeholder 9">
              <a:extLst>
                <a:ext uri="{FF2B5EF4-FFF2-40B4-BE49-F238E27FC236}">
                  <a16:creationId xmlns:a16="http://schemas.microsoft.com/office/drawing/2014/main" id="{D8DD69C9-9BB7-9696-B7FD-B0591E2FC495}"/>
                </a:ext>
              </a:extLst>
            </p:cNvPr>
            <p:cNvSpPr txBox="1">
              <a:spLocks/>
            </p:cNvSpPr>
            <p:nvPr/>
          </p:nvSpPr>
          <p:spPr>
            <a:xfrm>
              <a:off x="6389802" y="6382047"/>
              <a:ext cx="2243050" cy="365125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lIns="91440" tIns="45720" rIns="91440" bIns="4572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2000" dirty="0"/>
                <a:t>Flexibility activation</a:t>
              </a: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208D1CC-F5B7-6322-AE9A-2818A0C0B1F9}"/>
                </a:ext>
              </a:extLst>
            </p:cNvPr>
            <p:cNvSpPr/>
            <p:nvPr/>
          </p:nvSpPr>
          <p:spPr>
            <a:xfrm>
              <a:off x="6040349" y="6448125"/>
              <a:ext cx="349452" cy="232968"/>
            </a:xfrm>
            <a:custGeom>
              <a:avLst/>
              <a:gdLst>
                <a:gd name="connsiteX0" fmla="*/ 0 w 349452"/>
                <a:gd name="connsiteY0" fmla="*/ 0 h 232968"/>
                <a:gd name="connsiteX1" fmla="*/ 349453 w 349452"/>
                <a:gd name="connsiteY1" fmla="*/ 0 h 232968"/>
                <a:gd name="connsiteX2" fmla="*/ 349453 w 349452"/>
                <a:gd name="connsiteY2" fmla="*/ 232969 h 232968"/>
                <a:gd name="connsiteX3" fmla="*/ 0 w 349452"/>
                <a:gd name="connsiteY3" fmla="*/ 232969 h 23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9452" h="232968">
                  <a:moveTo>
                    <a:pt x="0" y="0"/>
                  </a:moveTo>
                  <a:lnTo>
                    <a:pt x="349453" y="0"/>
                  </a:lnTo>
                  <a:lnTo>
                    <a:pt x="349453" y="232969"/>
                  </a:lnTo>
                  <a:lnTo>
                    <a:pt x="0" y="232969"/>
                  </a:lnTo>
                  <a:close/>
                </a:path>
              </a:pathLst>
            </a:custGeom>
            <a:solidFill>
              <a:srgbClr val="DAE8FC"/>
            </a:solidFill>
            <a:ln w="11369" cap="flat">
              <a:solidFill>
                <a:srgbClr val="6C8E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D6A0BD7-8378-5CB3-724E-4026AA643ACF}"/>
                </a:ext>
              </a:extLst>
            </p:cNvPr>
            <p:cNvSpPr/>
            <p:nvPr/>
          </p:nvSpPr>
          <p:spPr>
            <a:xfrm>
              <a:off x="3447847" y="6448126"/>
              <a:ext cx="349452" cy="232968"/>
            </a:xfrm>
            <a:custGeom>
              <a:avLst/>
              <a:gdLst>
                <a:gd name="connsiteX0" fmla="*/ 0 w 349452"/>
                <a:gd name="connsiteY0" fmla="*/ 0 h 232968"/>
                <a:gd name="connsiteX1" fmla="*/ 349453 w 349452"/>
                <a:gd name="connsiteY1" fmla="*/ 0 h 232968"/>
                <a:gd name="connsiteX2" fmla="*/ 349453 w 349452"/>
                <a:gd name="connsiteY2" fmla="*/ 232969 h 232968"/>
                <a:gd name="connsiteX3" fmla="*/ 0 w 349452"/>
                <a:gd name="connsiteY3" fmla="*/ 232969 h 23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9452" h="232968">
                  <a:moveTo>
                    <a:pt x="0" y="0"/>
                  </a:moveTo>
                  <a:lnTo>
                    <a:pt x="349453" y="0"/>
                  </a:lnTo>
                  <a:lnTo>
                    <a:pt x="349453" y="232969"/>
                  </a:lnTo>
                  <a:lnTo>
                    <a:pt x="0" y="232969"/>
                  </a:lnTo>
                  <a:close/>
                </a:path>
              </a:pathLst>
            </a:custGeom>
            <a:solidFill>
              <a:srgbClr val="FFFFFF"/>
            </a:solidFill>
            <a:ln w="11369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Text Placeholder 9">
              <a:extLst>
                <a:ext uri="{FF2B5EF4-FFF2-40B4-BE49-F238E27FC236}">
                  <a16:creationId xmlns:a16="http://schemas.microsoft.com/office/drawing/2014/main" id="{95D04470-6371-161F-88E3-B670BDDEEBC1}"/>
                </a:ext>
              </a:extLst>
            </p:cNvPr>
            <p:cNvSpPr txBox="1">
              <a:spLocks/>
            </p:cNvSpPr>
            <p:nvPr/>
          </p:nvSpPr>
          <p:spPr>
            <a:xfrm>
              <a:off x="3797299" y="6382047"/>
              <a:ext cx="2407095" cy="365125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lIns="91440" tIns="45720" rIns="91440" bIns="4572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2000" dirty="0"/>
                <a:t>Flexibility offer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0889743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med">
        <p159:morph option="byObject"/>
      </p:transition>
    </mc:Choice>
    <mc:Fallback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5876D7-153D-569B-B0F4-D374F1E26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h 1 | Upper-Level cost &amp; exchange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0DE370-1418-38C0-3BEA-57E058C3E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21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7593F2-63FA-60B1-F6B9-A8616E08F967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3099869" y="2126214"/>
            <a:ext cx="8427392" cy="3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5570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B56DDFA-40E4-9125-61E8-1C1BA4A537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F72E17-C2BF-9375-E09B-B85735D25A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22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2FCE34F-0208-5C1B-EFD7-E0777900416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Activation magnitudes depend on instantaneous need and presented ru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3B31DF9-EBBC-4F66-0014-D204176823B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780F05-FF9A-2FB1-139D-E8B2533E0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h 2 | Activ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0DC96D6-064D-6070-3B15-6703D68EDA6E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1742172" y="2669654"/>
            <a:ext cx="8497956" cy="197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9889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7B2179-84F2-AEE6-CF61-847958234D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095902-BA34-E0A7-8F90-9F7D390064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6336" y="1498600"/>
            <a:ext cx="11041179" cy="104986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Entirely based on the </a:t>
            </a:r>
            <a:r>
              <a:rPr lang="en-US" b="1" dirty="0" err="1"/>
              <a:t>StROBe</a:t>
            </a:r>
            <a:r>
              <a:rPr lang="en-US" dirty="0"/>
              <a:t> library [1], modelling households’ member behaviors: </a:t>
            </a:r>
            <a:r>
              <a:rPr lang="en-US" b="1" dirty="0"/>
              <a:t>occupancy</a:t>
            </a:r>
            <a:r>
              <a:rPr lang="en-US" dirty="0"/>
              <a:t> and </a:t>
            </a:r>
            <a:r>
              <a:rPr lang="en-US" b="1" dirty="0"/>
              <a:t>plugged-in </a:t>
            </a:r>
            <a:r>
              <a:rPr lang="en-US" dirty="0"/>
              <a:t>appliance activ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A9DECC-87E9-5FF1-4E7D-CB1C4DB2B6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3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AB7329-397C-0F4F-68CE-3D19DCA47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of the </a:t>
            </a:r>
            <a:r>
              <a:rPr lang="en-US" dirty="0" err="1"/>
              <a:t>BaseLoad</a:t>
            </a:r>
            <a:endParaRPr lang="en-US" dirty="0"/>
          </a:p>
        </p:txBody>
      </p:sp>
      <p:pic>
        <p:nvPicPr>
          <p:cNvPr id="7" name="Graphique 51">
            <a:extLst>
              <a:ext uri="{FF2B5EF4-FFF2-40B4-BE49-F238E27FC236}">
                <a16:creationId xmlns:a16="http://schemas.microsoft.com/office/drawing/2014/main" id="{9EE026AB-9016-5DBF-D2CF-FC91263FBC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5568" y="2916647"/>
            <a:ext cx="5470432" cy="252481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921C7E8-98FC-8B8D-14A7-86538F4F4257}"/>
              </a:ext>
            </a:extLst>
          </p:cNvPr>
          <p:cNvSpPr txBox="1"/>
          <p:nvPr/>
        </p:nvSpPr>
        <p:spPr>
          <a:xfrm>
            <a:off x="1000902" y="6028449"/>
            <a:ext cx="103124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2400"/>
              </a:spcBef>
            </a:pPr>
            <a:r>
              <a:rPr lang="en-US" sz="1800" b="0" u="none" dirty="0">
                <a:latin typeface="+mn-lt"/>
              </a:rPr>
              <a:t>[1] Baetens, R., Saelens, D.: ‘Modelling uncertainty in district energy simulations by stochastic residential occupant </a:t>
            </a:r>
            <a:r>
              <a:rPr lang="en-US" sz="1800" b="0" u="none" dirty="0" err="1">
                <a:latin typeface="+mn-lt"/>
              </a:rPr>
              <a:t>behaviour</a:t>
            </a:r>
            <a:r>
              <a:rPr lang="en-US" sz="1800" b="0" u="none" dirty="0">
                <a:latin typeface="+mn-lt"/>
              </a:rPr>
              <a:t>’, Journal of Building Performance Simulation, 2016, 9, (4), pp. 431–447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DDF9FAE5-2F21-9B8F-4838-EBADA80B344D}"/>
              </a:ext>
            </a:extLst>
          </p:cNvPr>
          <p:cNvSpPr txBox="1">
            <a:spLocks/>
          </p:cNvSpPr>
          <p:nvPr/>
        </p:nvSpPr>
        <p:spPr>
          <a:xfrm>
            <a:off x="6333067" y="2713657"/>
            <a:ext cx="5713624" cy="3026743"/>
          </a:xfrm>
          <a:prstGeom prst="rect">
            <a:avLst/>
          </a:prstGeom>
          <a:ln w="28575"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r>
              <a:rPr lang="en-US" dirty="0"/>
              <a:t> A family composition is converted to an occupancy profile</a:t>
            </a:r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endParaRPr lang="en-US" dirty="0"/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r>
              <a:rPr lang="en-US" dirty="0"/>
              <a:t> Stochastic events of appliance utilization are generated and added to the power profile</a:t>
            </a:r>
          </a:p>
        </p:txBody>
      </p:sp>
    </p:spTree>
    <p:extLst>
      <p:ext uri="{BB962C8B-B14F-4D97-AF65-F5344CB8AC3E}">
        <p14:creationId xmlns:p14="http://schemas.microsoft.com/office/powerpoint/2010/main" val="9749083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DDFE43-A2E1-9AA2-3391-C5C4B56C39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D09C99-23BE-E545-BE9C-A3C04D91B8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4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6EE216-E259-559E-7BE0-AFFDB976B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A given number of cycles per week is assigned for each appliance</a:t>
            </a:r>
          </a:p>
          <a:p>
            <a:r>
              <a:rPr lang="en-US" dirty="0"/>
              <a:t>The appliance can be launched when someone is home</a:t>
            </a:r>
          </a:p>
          <a:p>
            <a:r>
              <a:rPr lang="en-US" dirty="0"/>
              <a:t>A random program is then assigned to this timestep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2F080B-F2AB-25A6-2462-E350856A04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28239" y="1264650"/>
            <a:ext cx="2448000" cy="523220"/>
          </a:xfrm>
        </p:spPr>
        <p:txBody>
          <a:bodyPr anchor="ctr">
            <a:normAutofit/>
          </a:bodyPr>
          <a:lstStyle/>
          <a:p>
            <a:r>
              <a:rPr lang="en-US" dirty="0"/>
              <a:t>Activa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FA3205-0547-1EE7-F9A7-C3C6068C9D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88B158-B5A4-F60A-D339-BD4F5B4A18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ctr">
            <a:normAutofit fontScale="92500"/>
          </a:bodyPr>
          <a:lstStyle/>
          <a:p>
            <a:r>
              <a:rPr lang="en-US" dirty="0"/>
              <a:t>Program profi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D4CC1D3-D867-62AD-3C5B-945527831EE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pecific column for each appliance</a:t>
            </a:r>
          </a:p>
          <a:p>
            <a:r>
              <a:rPr lang="en-US" dirty="0"/>
              <a:t> The flexibility component can be:</a:t>
            </a:r>
          </a:p>
          <a:p>
            <a:pPr lvl="1"/>
            <a:r>
              <a:rPr lang="en-US" dirty="0"/>
              <a:t>Max time shift dependent</a:t>
            </a:r>
          </a:p>
          <a:p>
            <a:pPr lvl="1"/>
            <a:r>
              <a:rPr lang="en-US" dirty="0"/>
              <a:t>The number of </a:t>
            </a:r>
            <a:br>
              <a:rPr lang="en-US" dirty="0"/>
            </a:br>
            <a:r>
              <a:rPr lang="en-US" dirty="0"/>
              <a:t>cycles per week</a:t>
            </a:r>
          </a:p>
          <a:p>
            <a:pPr lvl="1"/>
            <a:r>
              <a:rPr lang="en-US" dirty="0"/>
              <a:t>Defined by occupancy </a:t>
            </a:r>
          </a:p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2FE7094-CC50-48CF-082F-A1A0D0DF985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ctr"/>
          <a:lstStyle/>
          <a:p>
            <a:r>
              <a:rPr lang="en-US" dirty="0"/>
              <a:t>Outpu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4C619D-DBA9-92F2-5A9F-8759F29954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of the White Goods</a:t>
            </a:r>
          </a:p>
        </p:txBody>
      </p:sp>
      <p:pic>
        <p:nvPicPr>
          <p:cNvPr id="10" name="Graphique 47">
            <a:extLst>
              <a:ext uri="{FF2B5EF4-FFF2-40B4-BE49-F238E27FC236}">
                <a16:creationId xmlns:a16="http://schemas.microsoft.com/office/drawing/2014/main" id="{34A4A131-98EF-FD14-879A-6DFB731ACA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9140" y="2129004"/>
            <a:ext cx="3438269" cy="165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2021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4C6DAC-6BDB-AFDB-DA25-8EBDB7FC8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of the Electric Vehic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DD7555-4887-5B68-4469-80980AC0C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5</a:t>
            </a:fld>
            <a:endParaRPr lang="en-US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4E386AC7-B912-75AC-5129-9C64F29FC15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107" r="125"/>
          <a:stretch/>
        </p:blipFill>
        <p:spPr>
          <a:xfrm>
            <a:off x="426331" y="1095932"/>
            <a:ext cx="6122764" cy="283573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7F6CD6-ADA2-FC15-429A-93366F2664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One member is the driver</a:t>
            </a:r>
          </a:p>
          <a:p>
            <a:r>
              <a:rPr lang="en-US" dirty="0"/>
              <a:t>Driver leaving the house </a:t>
            </a:r>
            <a:r>
              <a:rPr lang="en-US" dirty="0">
                <a:sym typeface="Wingdings" panose="05000000000000000000" pitchFamily="2" charset="2"/>
              </a:rPr>
              <a:t> EV event</a:t>
            </a:r>
          </a:p>
          <a:p>
            <a:r>
              <a:rPr lang="en-US" dirty="0">
                <a:sym typeface="Wingdings" panose="05000000000000000000" pitchFamily="2" charset="2"/>
              </a:rPr>
              <a:t>Consumption from the absence duration and input params</a:t>
            </a:r>
          </a:p>
          <a:p>
            <a:r>
              <a:rPr lang="en-US" dirty="0">
                <a:sym typeface="Wingdings" panose="05000000000000000000" pitchFamily="2" charset="2"/>
              </a:rPr>
              <a:t>Driver comes back with discharged EV that gets recharged</a:t>
            </a:r>
            <a:endParaRPr lang="en-US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097D850B-5213-223A-1917-AB9CA58D97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64" y="3513219"/>
            <a:ext cx="6986805" cy="340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68162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112AC6-716D-A84B-8347-B77173D7E7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252D3-8218-DDBF-A418-FCE0547EB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of the Heat Pum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B7FBC5-03F3-3DD9-7B5B-6D7067ED0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6</a:t>
            </a:fld>
            <a:endParaRPr lang="en-US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755FDCAE-4547-ED0F-7010-9049E19FBA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569" y="1450493"/>
            <a:ext cx="3865580" cy="3234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6E549237-014E-141C-1CE6-4F48AEE7C92E}"/>
                  </a:ext>
                </a:extLst>
              </p:cNvPr>
              <p:cNvSpPr txBox="1"/>
              <p:nvPr/>
            </p:nvSpPr>
            <p:spPr>
              <a:xfrm>
                <a:off x="5037414" y="1385536"/>
                <a:ext cx="6063147" cy="3299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𝑙𝑜𝑠𝑠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𝑎𝑖𝑟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d>
                        <m:d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𝑖𝑛</m:t>
                              </m:r>
                            </m:sub>
                          </m:s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𝑤𝑎𝑙𝑙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dirty="0"/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𝑙𝑜𝑠𝑠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d>
                        <m:d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𝑤𝑎𝑙𝑙</m:t>
                              </m:r>
                            </m:sub>
                          </m:s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𝑜𝑢𝑡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dirty="0"/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𝑡h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𝑎𝑖𝑟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  <m:sub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𝑎𝑖𝑟</m:t>
                              </m:r>
                            </m:sub>
                          </m:s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𝜌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𝑎𝑖𝑟</m:t>
                          </m:r>
                        </m:sub>
                      </m:sSub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𝑎𝑖𝑟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𝑡h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𝑠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r>
                        <a:rPr lang="fr-BE" b="0" i="0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fr-BE" b="0" i="0" dirty="0">
                  <a:latin typeface="Cambria Math" panose="02040503050406030204" pitchFamily="18" charset="0"/>
                </a:endParaRPr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fr-BE" b="0" i="0" smtClean="0">
                          <a:latin typeface="Cambria Math" panose="02040503050406030204" pitchFamily="18" charset="0"/>
                        </a:rPr>
                        <m:t>Δ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𝑎𝑖𝑟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r-BE" b="0" i="0" smtClean="0">
                              <a:latin typeface="Cambria Math" panose="02040503050406030204" pitchFamily="18" charset="0"/>
                            </a:rPr>
                            <m:t>Δ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𝑡h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𝑎𝑖𝑟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𝑡h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)(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𝐻𝑃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𝑖𝑟𝑟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𝑙𝑜𝑠𝑠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𝑎𝑖𝑟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fr-BE" b="0" i="0" smtClean="0">
                          <a:latin typeface="Cambria Math" panose="02040503050406030204" pitchFamily="18" charset="0"/>
                        </a:rPr>
                        <m:t>Δ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r-BE" b="0" i="0" smtClean="0">
                              <a:latin typeface="Cambria Math" panose="02040503050406030204" pitchFamily="18" charset="0"/>
                            </a:rPr>
                            <m:t>Δ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f>
                        <m:f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𝑡h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(−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𝑙𝑜𝑠𝑠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  <a:p>
                <a:endParaRPr lang="en-US" dirty="0"/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r-BE" b="0" i="0" smtClean="0">
                              <a:latin typeface="Cambria Math" panose="02040503050406030204" pitchFamily="18" charset="0"/>
                            </a:rPr>
                            <m:t>c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fr-BE" b="0" i="0" smtClean="0">
                              <a:latin typeface="Cambria Math" panose="02040503050406030204" pitchFamily="18" charset="0"/>
                            </a:rPr>
                            <m:t>wall</m:t>
                          </m:r>
                        </m:sub>
                      </m:sSub>
                      <m:r>
                        <a:rPr lang="fr-BE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fr-BE" b="0" i="0" smtClean="0">
                          <a:latin typeface="Cambria Math" panose="02040503050406030204" pitchFamily="18" charset="0"/>
                        </a:rPr>
                        <m:t>depend</m:t>
                      </m:r>
                      <m:r>
                        <a:rPr lang="fr-BE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fr-BE" b="0" i="0" smtClean="0">
                          <a:latin typeface="Cambria Math" panose="02040503050406030204" pitchFamily="18" charset="0"/>
                        </a:rPr>
                        <m:t>on</m:t>
                      </m:r>
                      <m:r>
                        <a:rPr lang="fr-BE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fr-BE" b="0" i="0" smtClean="0">
                          <a:latin typeface="Cambria Math" panose="02040503050406030204" pitchFamily="18" charset="0"/>
                        </a:rPr>
                        <m:t>construction</m:t>
                      </m:r>
                      <m:r>
                        <a:rPr lang="fr-BE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fr-BE" b="0" i="0" smtClean="0">
                          <a:latin typeface="Cambria Math" panose="02040503050406030204" pitchFamily="18" charset="0"/>
                        </a:rPr>
                        <m:t>year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6E549237-014E-141C-1CE6-4F48AEE7C9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7414" y="1385536"/>
                <a:ext cx="6063147" cy="3299108"/>
              </a:xfrm>
              <a:prstGeom prst="rect">
                <a:avLst/>
              </a:prstGeom>
              <a:blipFill>
                <a:blip r:embed="rId3"/>
                <a:stretch>
                  <a:fillRect b="-73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04A7633F-A7A9-F7C9-BFAA-E871CA077DA5}"/>
              </a:ext>
            </a:extLst>
          </p:cNvPr>
          <p:cNvSpPr txBox="1">
            <a:spLocks/>
          </p:cNvSpPr>
          <p:nvPr/>
        </p:nvSpPr>
        <p:spPr>
          <a:xfrm>
            <a:off x="646336" y="4917592"/>
            <a:ext cx="11041179" cy="136061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The temperature profile is converted to a power profile using a thermostatic controller</a:t>
            </a:r>
          </a:p>
        </p:txBody>
      </p:sp>
    </p:spTree>
    <p:extLst>
      <p:ext uri="{BB962C8B-B14F-4D97-AF65-F5344CB8AC3E}">
        <p14:creationId xmlns:p14="http://schemas.microsoft.com/office/powerpoint/2010/main" val="34487151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F4B37-5A4A-556D-0D84-F5899B145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of the Water Boil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C31B0C-0428-6C2D-0CF8-EB523C7A8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7</a:t>
            </a:fld>
            <a:endParaRPr lang="en-US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DF6DED6A-D930-EF4A-0EE9-1D0AD814E9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6786" y="1465195"/>
            <a:ext cx="3772272" cy="3156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02F6158-F504-D44B-6C30-CFD648D97672}"/>
                  </a:ext>
                </a:extLst>
              </p:cNvPr>
              <p:cNvSpPr txBox="1"/>
              <p:nvPr/>
            </p:nvSpPr>
            <p:spPr>
              <a:xfrm>
                <a:off x="5064791" y="2299936"/>
                <a:ext cx="6063147" cy="9598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𝑙𝑜𝑠𝑠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𝑎𝑖𝑟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𝐴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d>
                        <m:d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𝑖𝑛</m:t>
                              </m:r>
                            </m:sub>
                          </m:s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𝑜𝑢𝑡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dirty="0"/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𝑡h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𝑡𝑒𝑟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  <m:sub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𝑤𝑎𝑡𝑒𝑟</m:t>
                              </m:r>
                            </m:sub>
                          </m:s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𝜌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𝑡𝑒𝑟</m:t>
                          </m:r>
                        </m:sub>
                      </m:sSub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𝑡𝑒𝑟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fr-BE" b="0" i="0" smtClean="0">
                          <a:latin typeface="Cambria Math" panose="02040503050406030204" pitchFamily="18" charset="0"/>
                        </a:rPr>
                        <m:t>Δ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r-BE" b="0" i="0" smtClean="0">
                              <a:latin typeface="Cambria Math" panose="02040503050406030204" pitchFamily="18" charset="0"/>
                            </a:rPr>
                            <m:t>Δ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𝑡h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)(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𝑊𝐵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𝑢𝑠𝑒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𝑙𝑜𝑠𝑠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02F6158-F504-D44B-6C30-CFD648D976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64791" y="2299936"/>
                <a:ext cx="6063147" cy="959878"/>
              </a:xfrm>
              <a:prstGeom prst="rect">
                <a:avLst/>
              </a:prstGeom>
              <a:blipFill>
                <a:blip r:embed="rId3"/>
                <a:stretch>
                  <a:fillRect b="-37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" name="Content Placeholder 1">
                <a:extLst>
                  <a:ext uri="{FF2B5EF4-FFF2-40B4-BE49-F238E27FC236}">
                    <a16:creationId xmlns:a16="http://schemas.microsoft.com/office/drawing/2014/main" id="{6FC6B697-BD6D-E8B0-1CDF-663F70EB6CB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46336" y="4917592"/>
                <a:ext cx="11041179" cy="1360616"/>
              </a:xfrm>
              <a:prstGeom prst="rect">
                <a:avLst/>
              </a:prstGeom>
            </p:spPr>
            <p:txBody>
              <a:bodyPr/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dirty="0"/>
                  <a:t>The temperature profile is converted to a power profile using a thermostatic controller</a:t>
                </a:r>
              </a:p>
              <a:p>
                <a:pPr marL="0" indent="0">
                  <a:buFont typeface="Arial" panose="020B0604020202020204" pitchFamily="34" charset="0"/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fr-B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BE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fr-BE" b="0" i="1" smtClean="0">
                            <a:latin typeface="Cambria Math" panose="02040503050406030204" pitchFamily="18" charset="0"/>
                          </a:rPr>
                          <m:t>𝑢𝑠𝑒</m:t>
                        </m:r>
                      </m:sub>
                    </m:sSub>
                  </m:oMath>
                </a14:m>
                <a:r>
                  <a:rPr lang="en-US" dirty="0"/>
                  <a:t> comes from the stochastic generator with volumetric water usage </a:t>
                </a:r>
              </a:p>
            </p:txBody>
          </p:sp>
        </mc:Choice>
        <mc:Fallback>
          <p:sp>
            <p:nvSpPr>
              <p:cNvPr id="5" name="Content Placeholder 1">
                <a:extLst>
                  <a:ext uri="{FF2B5EF4-FFF2-40B4-BE49-F238E27FC236}">
                    <a16:creationId xmlns:a16="http://schemas.microsoft.com/office/drawing/2014/main" id="{6FC6B697-BD6D-E8B0-1CDF-663F70EB6C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6336" y="4917592"/>
                <a:ext cx="11041179" cy="1360616"/>
              </a:xfrm>
              <a:prstGeom prst="rect">
                <a:avLst/>
              </a:prstGeom>
              <a:blipFill>
                <a:blip r:embed="rId4"/>
                <a:stretch>
                  <a:fillRect l="-1104" t="-7623" b="-1390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881182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548C08C-1048-E7FE-3E73-3B8EA5ABCD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74280" y="1498600"/>
            <a:ext cx="4613235" cy="471938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9E6BE4-61B4-1D07-B50D-95CDCC87F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C0F6967-4D29-AB4B-E8EC-7BF6028AF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pu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6BF30D-589E-A006-27D6-06B397BACDE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52527"/>
          <a:stretch/>
        </p:blipFill>
        <p:spPr>
          <a:xfrm>
            <a:off x="646336" y="1360118"/>
            <a:ext cx="3240000" cy="411661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79B5FB8-EB44-7B9E-7821-D6642DE3CFB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214" t="47838" r="214" b="151"/>
          <a:stretch/>
        </p:blipFill>
        <p:spPr>
          <a:xfrm>
            <a:off x="3575588" y="1360118"/>
            <a:ext cx="3240000" cy="4510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4105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4D6D7F-B84F-C742-FC6E-C5F1BD9A49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E7CBA36-011B-0001-EAEC-427A9D0D79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One power reference for each appliance and each timestep.</a:t>
            </a:r>
          </a:p>
          <a:p>
            <a:pPr marL="0" indent="0">
              <a:buNone/>
            </a:pPr>
            <a:r>
              <a:rPr lang="en-US" dirty="0"/>
              <a:t>The number of columns depends on the appliances in the house</a:t>
            </a:r>
          </a:p>
          <a:p>
            <a:pPr marL="0" indent="0">
              <a:buNone/>
            </a:pPr>
            <a:r>
              <a:rPr lang="en-US" dirty="0"/>
              <a:t>The number of rows depends on simulation length and timeste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21275F-39CE-03B5-8D9E-8A5D005E3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E2FDB6-CED4-D287-CB07-7AF19A499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 power profile | Outputs (1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724C872-4D08-9DEB-9C16-DEB3C755B8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1766878"/>
              </p:ext>
            </p:extLst>
          </p:nvPr>
        </p:nvGraphicFramePr>
        <p:xfrm>
          <a:off x="1698858" y="4150816"/>
          <a:ext cx="8794284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2000">
                  <a:extLst>
                    <a:ext uri="{9D8B030D-6E8A-4147-A177-3AD203B41FA5}">
                      <a16:colId xmlns:a16="http://schemas.microsoft.com/office/drawing/2014/main" val="3949921633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1655301834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3613986473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2138295346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4056533049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1706314058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310545378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BaseLoad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DishWasher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WashMachine</a:t>
                      </a:r>
                      <a:endParaRPr lang="en-US" sz="14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_E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_W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_HP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87172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jan24 00: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7322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jan24 00:0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09442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1jan24 00: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9285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74981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8HO3Ejdq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620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7DF4904-0836-474F-8172-F965CA53E53A}">
  <we:reference id="wa200004052" version="1.0.0.2" store="en-US" storeType="OMEX"/>
  <we:alternateReferences>
    <we:reference id="wa200004052" version="1.0.0.2" store="wa200004052" storeType="OMEX"/>
  </we:alternateReferences>
  <we:properties>
    <we:property name="holatex.main" value="{&quot;pictures&quot;:[{&quot;name&quot;:&quot;Latex&quot;,&quot;code&quot;:&quot;\\begin{document}\n\\LaTeX\n\\newcommand{\\timestep}{\\ensuremath{\\Delta_T}}\n\\newcommand{\\forallt}{\\ensuremath{\\forall t \\in \\mathcal{T}}}\n\\newcommand{\\foralln}{\\ensuremath{\\forall n \\in \\mathcal{N}}}\n\\newcommand{\\forallu}{\\ensuremath{\\forall u \\in \\mathcal{U}}}\n\\begin{align}\n    &amp;  T^{in}_{t+1} = T^{in}_t + \\timestep k_{th} * (P^{HP,th}_{hp_u,t} - P^{loss}_{u,t}) &amp; \\forallu, \\forallt \\\\\n    &amp; \\underline{T}^{in}_u \\leq T^{in}_t \\leq \\bar{T}^{in}_u &amp; \\forallu, \\forallt \\label{HP:Tbound}\\\\ \n    &amp; 0\\leq P^{HP,el}_{hp_u,t} \\leq \\bar{P}^{HP}_{hp_u} &amp; \\forall hp_u \\in \\mathcal{HP}_u, \\forallt \\\\\n    &amp; P^{HP,th}_{hp_u,t} = COP_{hp_u,t} * P^{HP,el}_{hp_u,t} &amp; \\forall hp_u \\in \\mathcal{HP}_u, \\forallt\\label{HP:COP}\n\\end{align}\n\\end{document}&quot;},{&quot;name&quot;:&quot;Latex&quot;,&quot;code&quot;:&quot;\\begin{document}\n\\newcommand{\\timestep}{\\ensuremath{\\Delta_T}}\n\\newcommand{\\forallt}{\\ensuremath{\\forall t \\in \\mathcal{T}}}\n\\newcommand{\\foralln}{\\ensuremath{\\forall n \\in \\mathcal{N}}}\n\\newcommand{\\forallu}{\\ensuremath{\\forall u \\in \\mathcal{U}}}\n\\begin{align}\n    &amp;  T^{in}_{t+1} = T^{in}_t + \\timestep k_{th} * (P^{HP,th}_{hp_u,t} - P^{loss}_{u,t}) &amp; \\forallu, \\forallt \\\\\n    &amp; \\underline{T}^{in}_u \\leq T^{in}_t \\leq \\bar{T}^{in}_u &amp; \\forallu, \\forallt \\label{HP:Tbound}\\\\ \n    &amp; 0\\leq P^{HP,el}_{hp_u,t} \\leq \\bar{P}^{HP}_{hp_u} &amp; \\forall hp_u \\in \\mathcal{HP}_u, \\forallt \\\\\n    &amp; P^{HP,th}_{hp_u,t} = COP_{hp_u,t} * P^{HP,el}_{hp_u,t} &amp; \\forall hp_u \\in \\mathcal{HP}_u, \\forallt\\label{HP:COP}\n\\end{align}\n\\end{document}&quot;},{&quot;name&quot;:&quot;Latex&quot;,&quot;code&quot;:&quot;\\begin{document}\n% Community price\n%\\newcommand{\\impCom}[1]{\\ensuremath{i^\\text{com, #1}}}\n%\\newcommand{\\expCom}[1]{\\ensuremath{e^\\text{com, #1}}}\n%\\newcommand{\\maxImpCom}{\\ensuremath{\\overline{I}^\\text{com}}}\n%\\newcommand{\\maxExpCom}{\\ensuremath{\\overline{E}^\\text{com}}}\n%\\newcommand{\\expGridB}{\\ensuremath{y^\\text{gr, exp}}}\n%\\newcommand{\\impGridB}{\\ensuremath{y^\\text{gr, imp}}}\n%\\newcommand{\\expComB}{\\ensuremath{y^\\text{com, exp}}}\n%\\newcommand{\\impComB}{\\ensuremath{y^\\text{com, imp}}}\n% Text macros\n\n\n% Battery\n\\newcommand{\\BSSs}{\\ensuremath{\\mathcal{D}^{sto}}}\n\\newcommand{\\OPSOC}{\\ensuremath{s}}\n\\newcommand{\\maxcharge}{\\ensuremath{\\overline{s}}}\n\\newcommand{\\mincharge}{\\ensuremath{\\underline{s}}}\n\\newcommand{\\chargerate}{\\ensuremath{\\overline{P}^{\\text{cha}}}}\n\\newcommand{\\dischargerate}{\\ensuremath{\\overline{P}^{\\text{dis}}}}\n\\newcommand{\\retentionRate}{\\ensuremath{\\eta^{\\text{retention}}}}\n\\newcommand{\\chargeEfficiency}{\\ensuremath{\\eta^{\\text{cha}}}}\n\\newcommand{\\dischargeEfficiency}{\\ensuremath{\\eta^{\\text{dis}}}}\n\\newcommand{\\initialCharge}{\\ensuremath{s^\\text{init}}}\n\\newcommand{\\minEndCharge}{\\ensuremath{\\underline{S}^\\text{end}}}\n\\newcommand{\\maxEndCharge}{\\ensuremath{\\overline{S}^\\text{end}}}\n\\newcommand{\\charge}{\\ensuremath{P^\\text{cha}}}\n\\newcommand{\\discharge}{\\ensuremath{P^\\text{dis}}}\n\\newcommand{\\finalCharge}{\\ensuremath{S^{\\text{end}}}}\n\\newcommand{\\BSSFee}{\\ensuremath{\\gamma^\\text{sto}}}\n\n% Devices\n\\newcommand{\\devices}[1]{\\ensuremath{\\mathcal{D}^\\text{#1}}}\n\\newcommand{\\sheddableDevices}{\\ensuremath{\\devices{she}}}\n%\\newcommand{\\flexibleDevices}{\\ensuremath{\\devices{fl}}}\n\\newcommand{\\nonflexibleDevices}{\\ensuremath{\\devices{nfl}}}\n\\newcommand{\\steerableDevices}{\\ensuremath{\\devices{ste}}}\n\\newcommand{\\curtableDevices}{\\ensuremath{\\devices{nst}}}\n\\newcommand{\\nonsteerableDevices}{\\ensuremath{\\devices{nst}}}\n\n% Users\n\\newcommand{\\users}{\\ensuremath{\\mathcal{U}}}\n\\newcommand{\\nodes}{\\ensuremath{\\mathcal{N}}}\n\n\\newcommand{\\bill}[1]{\\ensuremath{B^\\text{#1}}}\n\\newcommand{\\optprofit}[1]{\\ensuremath{B^{*, \\text{#1}}}}\n\n\\newcommand{\\profit}[1]{J^\\text{#1}}\n\\newcommand{\\profitshare}[2]{\\ensuremath{r^{#1}(J^{*, \\text{MU}}, #2)}}\n%\\newcommand{\\netEntityPosition}{\\ensuremath{p}^{\\text{net}}}\n\n% Power assist\n%\\newcommand{\\entitySupplyCap}{\\ensuremath{I}^{\\text{cap}}}\n\\newcommand{\\maxExportToGrid}{\\ensuremath{E}_{u,t}^{\\text{cap}}}\n\\newcommand{\\maxImportFromGrid}{\\ensuremath{I}_{u,t}^{\\text{cap}}}\n%\\newcommand{\\assistanceOn}{\\ensuremath{y}^{\\text{assist}}}\n%\\newcommand{\\assistLevel}{\\ensuremath{z}^{\\text{assist}}}\n%\\newcommand{\\assistedPower}{\\ensuremath{p}^{\\text{assisted}}}\n%\\newcommand{\\assistlevel}{\\ensuremath{P}^{\\text{assist}}}\n%\\newcommand{\\netPositionUB}{\\ensuremath{p}^{\\text{net, UB}}}\n\n\n% operator\n\\newcommand{\\operatorincome}{\\ensuremath{J}^\\text{operator}}\n\\newcommand{\\OPFee}{\\ensuremath{\\gamma^\\text{com}}}\n\n% Peak power\n\\newcommand{\\peak}{\\ensuremath{\\overline{p}}}\n%\\newcommand{\\oldpeak}{\\ensuremath{\\overline{p}^{\\text{past}}}}\n%\\newcommand{\\peakdiscount}{\\ensuremath{\\gamma}^{\\text{peak}}}\n%\\newcommand{\\peakincrease}{\\ensuremath{\\delta \\overline{p}}}\n\n% Price\n\\newcommand{\\price}[1]{\\ensuremath{\\pi^{\\text{#1}}}}\n%\\newcommand{\\curtailmentPrice}{\\OPprice{nst}}\n\\newcommand{\\sheddingPrice}{\\price{she}}\n\\newcommand{\\flexiblePrice}{\\price{flex}}\n\\newcommand{\\reservePrice}{\\price{res}}\n\\newcommand{\\gridBuyPrice}{\\price{igr}}\n\\newcommand{\\gridSalePrice}{\\price{egr}}\n\\newcommand{\\lossPrice}{\\price{loss}}\n\n% Cost\n\\newcommand{\\OPcost}[1]{\\ensuremath{c^\\text{#1}}}\n\n% Energy\n\\newcommand{\\exportGrid}{\\ensuremath{e}^\\text{gri}}\n\\newcommand{\\importGrid}{\\ensuremath{i}^\\text{gri}}\n\\newcommand{\\exportCom}{\\ensuremath{e}^\\text{com}}\n\\newcommand{\\importCom}{\\ensuremath{i}^\\text{com}}\n\\newcommand{\\Pprod}{\\ensuremath{p^{\\text{prod}}}}\n\\newcommand{\\Pcons}{\\ensuremath{p^{\\text{cons}}}}\n\n% Reserve\n\\newcommand{\\OPreserve}[1]{\\ensuremath{r^\\text{#1}}}\n\\newcommand{\\reserveBSSInc}{\\ensuremath{r^{s+}_{d,t}}}\n\\newcommand{\\reserveBSSDec}{\\ensuremath{r^{s-}_{d,t}}}\n\n% Time\n\\newcommand{\\timestep}{\\ensuremath{\\Delta_T}}\n\\newcommand{\\OPperiods}{\\ensuremath{\\mathcal{T}}}\n\\newcommand{\\OPdays}{\\ensuremath{\\mathcal{D}}}\n\n%Production\n%\\newcommand{\\curtail} {\\ensuremath{a^\\text{nst}}}\n\\newcommand{\\flexRamp}{\\ensuremath{\\Delta \\overline{P}^\\text{flex}}}\n\\newcommand{\\fix}{\\ensuremath{P^\\text{fix}}}\n\\newcommand{\\PPV}{\\ensuremath{P^\\text{PV}}}\n\\newcommand{\\flexible}{\\ensuremath{\\overline{P}^\\text{flex}}}\n\\newcommand{\\PPVprof}{\\ensuremath{\\overline{P}^\\text{PV}}}\n\\newcommand{\\PVprof}{\\ensuremath{\\overline{p}^\\text{PV}}}\n\n%Flexible demand\n\n\\newcommand{\\flex}{\\ensuremath{P^\\text{flex}}}\n\\newcommand{\\Pts}{\\ensuremath{P^\\text{TS}}}\n\\newcommand{\\Pev}{\\ensuremath{P^\\text{EV}}}\n\\newcommand{\\Pth}{\\ensuremath{P^\\text{TH}}}\n\n\\newcommand{\\flexcoef}{k^{\\text{flex}}}\n\\newcommand{\\disccoef}{k^{\\text{disc}}}\n\n\\newcommand{\\discomf}[1]{\\ensuremath{J^\\text{#1}}}\n\n\\newcommand{\\Ecap}{\\ensuremath{E^\\text{cap,flex}}}\n\\newcommand{\\Eact}{\\ensuremath{E^\\text{act,flex}}}\n\\newcommand{\\actPrice}{\\ensuremath{\\pi^\\text{act}}}\n\\newcommand{\\capPrice}{\\ensuremath{\\pi^\\text{cap}}}\n\\newcommand{\\flexPrice}{\\ensuremath{\\pi^\\text{flex}}}\n\n% Consumption\n\\newcommand{\\shed} {\\ensuremath{a^\\text{she}}}\n%\\newcommand{\\flex}{\\ensuremath{a^\\text{fl}}}\n\\newcommand{\\flexCons}{\\ensuremath{c^\\text{flex}}}\n\\newcommand{\\flexStart}{\\ensuremath{y^\\text{flex}}}\n\\newcommand{\\flexStarted}{\\ensuremath{z^\\text{flex}}}\n\\newcommand{\\exclusiveGroup}{\\ensuremath{\\mathcal{G}}}\n\\newcommand{\\nonFlexible}{\\ensuremath{D^\\text{nfl}}}\n\\newcommand{\\flexibleLoadDuration}{\\ensuremath{\\text{duration}^\\text{fl}}}\n\\newcommand{\\flexibleLoadProfile}{\\ensuremath{\\text{profile}^\\text{flex}}}\n\\newcommand{\\flexibleLoadStartTime}{\\ensuremath{\\text{start}^\\text{flex}}}\n\\newcommand{\\flexibleLoadEndTime}{\\ensuremath{\\text{end}^\\text{flex}}}\n\\newcommand{\\flexibleLoadAcceptanceRatio}{\\ensuremath{\\underline{a}^\\text{flex}}}\n\\newcommand{\\flexibleLoadMustRun}{\\ensuremath{\\text{run}^\\text{flex}}}\n\\newcommand{\\flexibleEnergy}{\\ensuremath{\\text{E}^\\text{flex}}}\n\\newcommand{\\sheddable}{\\ensuremath{D^\\text{she}}}\n\\newcommand{\\maxSheddingTime}{\\ensuremath{\\overline{A}^\\text{she}}}\n\n% Sizing\n\\newcommand{\\InvHor} {\\ensuremath{I^{\\text{hor}}}}\n\n\\newcommand{\\CPV} {\\ensuremath{C^\\text{PV}}}\n\\newcommand{\\CBSS} {\\ensuremath{C^\\text{BSS}}}\n\n\\newcommand{\\hasPV} {\\ensuremath{b^\\text{PV}}}\n\\newcommand{\\hasBSS} {\\ensuremath{b^\\text{BSS}}}\n\\newcommand{\\hasdiscount}[1] {\\ensuremath{d^\\text{#1}}}\n\n\n\\newcommand{\\pif}[1] {\\ensuremath{\\pi_f^\\text{#1}}}\n\\newcommand{\\piv}[1] {\\ensuremath{\\pi_v^\\text{#1}}}\n\\newcommand{\\pid}[1] {\\ensuremath{\\pi_d^\\text{#1}}}\n\n\\newcommand{\\Cmax}[1] {\\ensuremath{\\overline{C}^\\text{#1}}}\n\\newcommand{\\Cmin}[1] {\\ensuremath{\\underline{C}^\\text{#1}}}\n\n% Sharing\n\\newcommand{\\weight}[1]{\\ensuremath{w^\\text{#1}}}\n\n% Misc\n\\newcommand{\\foralld}{\\ensuremath{\\forall d \\in \\OPdays}}\n\\newcommand{\\forallt}{\\ensuremath{\\forall t \\in \\OPperiods}}\n\\newcommand{\\foralln}{\\ensuremath{\\forall n \\in \\nodes}}\n\\newcommand{\\forallu}{\\ensuremath{\\forall u \\in \\users}}\n\\newcommand{\\foralluPrime}{\\ensuremath{\\forall u' \\in \\users}}\n\\newcommand{\\forallb}{\\ensuremath{\\forall d \\in \\BSSs}}\n\\newcommand{\\forallDShed}{\\ensuremath{\\forall d \\in \\sheddableDevices}}\n\\newcommand{\\forallDFlex}{\\ensuremath{\\forall d \\in \\devices{fl}}}\n\\newcommand{\\forallDCurt}{\\ensuremath{\\forall d \\in \\devices{nst}}}\n\\newcommand{\\forallDSteer}{\\ensuremath{\\forall d \\in \\devices{ste}}}\n\n\\newcommand{\\uinU}{u \\in \\users}\n\\newcommand{\\tinT}{t \\in \\OPperiods}\n\n\\newcommand{\\ut}{\\ensuremath{_{u,t}}}\n\\newcommand{\\ud}{\\ensuremath{_{u,d}}}\n\n\\newcommand{\\Rplus}{\\ensuremath{\\mathbb{R}_+}}\n\\newcommand{\\Rminus}{\\ensuremath{\\mathbb{R}_-}}\n\n% Network\n\\newcommand{\\Ploss}{\\ensuremath{P^\\text{loss}}}\n\\newcommand{\\Pinj}{\\ensuremath{P^\\text{inj}}}\n\\newcommand{\\Qinj}{\\ensuremath{Q^\\text{inj}}}\n\\newcommand{\\Qi}[1]{\\ensuremath{Q^\\text{#1}}}\n\\newcommand{\\Isqr}{\\ensuremath{I^\\text{sqr}}}\n\\newcommand{\\Vsqr}{\\ensuremath{V^\\text{sqr}}}\n\n\\newcommand{\\Pline}{\\ensuremath{P^\\text{line}}}\n\\newcommand{\\Qline}{\\ensuremath{Q^\\text{line}}}\n\n\\newcommand{\\Vmax}{\\ensuremath{\\overline{V}}}\n\\newcommand{\\Vmin}{\\ensuremath{\\underline{V}}}\n\\newcommand{\\Imax}{\\ensuremath{\\overline{I}}}\n\n% Sets related to PF\n\\newcommand{\\lines}{\\ensuremath{\\mathcal{L}}}\n\\newcommand{\\child}{\\ensuremath{\\mathcal{C}}}\n\\newcommand{\\ancestor}{\\ensuremath{\\mathcal{A}}}\n\n% Misc\n\\newcommand{\\red}[1]{\\textcolor{red}{#1}}\n\\newcommand{\\todo}[1]{\\textcolor{red}{\\textbf{TO DO: #1}}}\n\\newcommand{\\NB}[1]{\\textcolor{blue}{NB: #1}}\n\\begin{align}  \n\\textstyle\\Pi^{REC}_u &amp;\\textstyle=  \\sum_{t \\in \\mathcal{T}} [\\pi^{i,ret}i^{ret}\\ut-\\pi^{e,ret}e^{ret}\\ut + \\gamma^{com}(\\importCom\\ut+\\exportCom\\ut)]\\timestep \\label{Cost:Bill_u}\\\\\n\\textstyle\\Pi^{REC}&amp; \\textstyle=  \\sum_{u \\in \\mathcal{U}} \\Pi^{REC}_u \\label{Cost:CM}\n\\end{align}\n\n\\begin{align}  \n\\Pinj\\ut = &amp;\\PPV\\ut + \\discharge\\ut - \\fix\\ut - P^{flex}\\ut - \\charge\\ut &amp;\\forallu, \\forallt, \\label{Exch:PbalPhys}\\\\ \n\\Pinj\\ut = &amp;e^{ret}\\ut + \\exportCom\\ut - i^{ret}\\ut - \\importCom\\ut &amp;\\forallu, \\forallt, \\label{Exch:PbalVirt}\\\\\n&amp;\\textstyle\\sum_{u \\in \\mathcal{U}} \\exportCom\\ut = \\sum_{u \\in \\mathcal{U}}\\importCom\\ut &amp;\\forallt. \\label{Exch:ComBal}\n\\end{align}\n\n\\end{document}&quot;},{&quot;name&quot;:&quot;Latex&quot;,&quot;code&quot;:&quot;\\begin{document}\n% Community price\n%\\newcommand{\\impCom}[1]{\\ensuremath{i^\\text{com, #1}}}\n%\\newcommand{\\expCom}[1]{\\ensuremath{e^\\text{com, #1}}}\n%\\newcommand{\\maxImpCom}{\\ensuremath{\\overline{I}^\\text{com}}}\n%\\newcommand{\\maxExpCom}{\\ensuremath{\\overline{E}^\\text{com}}}\n%\\newcommand{\\expGridB}{\\ensuremath{y^\\text{gr, exp}}}\n%\\newcommand{\\impGridB}{\\ensuremath{y^\\text{gr, imp}}}\n%\\newcommand{\\expComB}{\\ensuremath{y^\\text{com, exp}}}\n%\\newcommand{\\impComB}{\\ensuremath{y^\\text{com, imp}}}\n% Text macros\n\n\n% Battery\n\\newcommand{\\BSSs}{\\ensuremath{\\mathcal{D}^{sto}}}\n\\newcommand{\\OPSOC}{\\ensuremath{s}}\n\\newcommand{\\maxcharge}{\\ensuremath{\\overline{s}}}\n\\newcommand{\\mincharge}{\\ensuremath{\\underline{s}}}\n\\newcommand{\\chargerate}{\\ensuremath{\\overline{P}^{\\text{cha}}}}\n\\newcommand{\\dischargerate}{\\ensuremath{\\overline{P}^{\\text{dis}}}}\n\\newcommand{\\retentionRate}{\\ensuremath{\\eta^{\\text{retention}}}}\n\\newcommand{\\chargeEfficiency}{\\ensuremath{\\eta^{\\text{cha}}}}\n\\newcommand{\\dischargeEfficiency}{\\ensuremath{\\eta^{\\text{dis}}}}\n\\newcommand{\\initialCharge}{\\ensuremath{s^\\text{init}}}\n\\newcommand{\\minEndCharge}{\\ensuremath{\\underline{S}^\\text{end}}}\n\\newcommand{\\maxEndCharge}{\\ensuremath{\\overline{S}^\\text{end}}}\n\\newcommand{\\charge}{\\ensuremath{P^\\text{cha}}}\n\\newcommand{\\discharge}{\\ensuremath{P^\\text{dis}}}\n\\newcommand{\\finalCharge}{\\ensuremath{S^{\\text{end}}}}\n\\newcommand{\\BSSFee}{\\ensuremath{\\gamma^\\text{sto}}}\n\n% Devices\n\\newcommand{\\devices}[1]{\\ensuremath{\\mathcal{D}^\\text{#1}}}\n\\newcommand{\\sheddableDevices}{\\ensuremath{\\devices{she}}}\n%\\newcommand{\\flexibleDevices}{\\ensuremath{\\devices{fl}}}\n\\newcommand{\\nonflexibleDevices}{\\ensuremath{\\devices{nfl}}}\n\\newcommand{\\steerableDevices}{\\ensuremath{\\devices{ste}}}\n\\newcommand{\\curtableDevices}{\\ensuremath{\\devices{nst}}}\n\\newcommand{\\nonsteerableDevices}{\\ensuremath{\\devices{nst}}}\n\n% Users\n\\newcommand{\\users}{\\ensuremath{\\mathcal{U}}}\n\\newcommand{\\nodes}{\\ensuremath{\\mathcal{N}}}\n\n\\newcommand{\\bill}[1]{\\ensuremath{B^\\text{#1}}}\n\\newcommand{\\optprofit}[1]{\\ensuremath{B^{*, \\text{#1}}}}\n\n\\newcommand{\\profit}[1]{J^\\text{#1}}\n\\newcommand{\\profitshare}[2]{\\ensuremath{r^{#1}(J^{*, \\text{MU}}, #2)}}\n%\\newcommand{\\netEntityPosition}{\\ensuremath{p}^{\\text{net}}}\n\n% Power assist\n%\\newcommand{\\entitySupplyCap}{\\ensuremath{I}^{\\text{cap}}}\n\\newcommand{\\maxExportToGrid}{\\ensuremath{E}_{u,t}^{\\text{cap}}}\n\\newcommand{\\maxImportFromGrid}{\\ensuremath{I}_{u,t}^{\\text{cap}}}\n%\\newcommand{\\assistanceOn}{\\ensuremath{y}^{\\text{assist}}}\n%\\newcommand{\\assistLevel}{\\ensuremath{z}^{\\text{assist}}}\n%\\newcommand{\\assistedPower}{\\ensuremath{p}^{\\text{assisted}}}\n%\\newcommand{\\assistlevel}{\\ensuremath{P}^{\\text{assist}}}\n%\\newcommand{\\netPositionUB}{\\ensuremath{p}^{\\text{net, UB}}}\n\n\n% operator\n\\newcommand{\\operatorincome}{\\ensuremath{J}^\\text{operator}}\n\\newcommand{\\OPFee}{\\ensuremath{\\gamma^\\text{com}}}\n\n% Peak power\n\\newcommand{\\peak}{\\ensuremath{\\overline{p}}}\n%\\newcommand{\\oldpeak}{\\ensuremath{\\overline{p}^{\\text{past}}}}\n%\\newcommand{\\peakdiscount}{\\ensuremath{\\gamma}^{\\text{peak}}}\n%\\newcommand{\\peakincrease}{\\ensuremath{\\delta \\overline{p}}}\n\n% Price\n\\newcommand{\\price}[1]{\\ensuremath{\\pi^{\\text{#1}}}}\n%\\newcommand{\\curtailmentPrice}{\\OPprice{nst}}\n\\newcommand{\\sheddingPrice}{\\price{she}}\n\\newcommand{\\flexiblePrice}{\\price{flex}}\n\\newcommand{\\reservePrice}{\\price{res}}\n\\newcommand{\\gridBuyPrice}{\\price{igr}}\n\\newcommand{\\gridSalePrice}{\\price{egr}}\n\\newcommand{\\lossPrice}{\\price{loss}}\n\n% Cost\n\\newcommand{\\OPcost}[1]{\\ensuremath{c^\\text{#1}}}\n\n% Energy\n\\newcommand{\\exportGrid}{\\ensuremath{e}^\\text{gri}}\n\\newcommand{\\importGrid}{\\ensuremath{i}^\\text{gri}}\n\\newcommand{\\exportCom}{\\ensuremath{e}^\\text{com}}\n\\newcommand{\\importCom}{\\ensuremath{i}^\\text{com}}\n\\newcommand{\\Pprod}{\\ensuremath{p^{\\text{prod}}}}\n\\newcommand{\\Pcons}{\\ensuremath{p^{\\text{cons}}}}\n\n% Reserve\n\\newcommand{\\OPreserve}[1]{\\ensuremath{r^\\text{#1}}}\n\\newcommand{\\reserveBSSInc}{\\ensuremath{r^{s+}_{d,t}}}\n\\newcommand{\\reserveBSSDec}{\\ensuremath{r^{s-}_{d,t}}}\n\n% Time\n\\newcommand{\\timestep}{\\ensuremath{\\Delta_T}}\n\\newcommand{\\OPperiods}{\\ensuremath{\\mathcal{T}}}\n\\newcommand{\\OPdays}{\\ensuremath{\\mathcal{D}}}\n\n%Production\n%\\newcommand{\\curtail} {\\ensuremath{a^\\text{nst}}}\n\\newcommand{\\flexRamp}{\\ensuremath{\\Delta \\overline{P}^\\text{flex}}}\n\\newcommand{\\fix}{\\ensuremath{P^\\text{fix}}}\n\\newcommand{\\PPV}{\\ensuremath{P^\\text{PV}}}\n\\newcommand{\\flexible}{\\ensuremath{\\overline{P}^\\text{flex}}}\n\\newcommand{\\PPVprof}{\\ensuremath{\\overline{P}^\\text{PV}}}\n\\newcommand{\\PVprof}{\\ensuremath{\\overline{p}^\\text{PV}}}\n\n%Flexible demand\n\n\\newcommand{\\flex}{\\ensuremath{P^\\text{flex}}}\n\\newcommand{\\Pts}{\\ensuremath{P^\\text{TS}}}\n\\newcommand{\\Pev}{\\ensuremath{P^\\text{EV}}}\n\\newcommand{\\Pth}{\\ensuremath{P^\\text{TH}}}\n\n\\newcommand{\\flexcoef}{k^{\\text{flex}}}\n\\newcommand{\\disccoef}{k^{\\text{disc}}}\n\n\\newcommand{\\discomf}[1]{\\ensuremath{J^\\text{#1}}}\n\n\\newcommand{\\Ecap}{\\ensuremath{E^\\text{cap,flex}}}\n\\newcommand{\\Eact}{\\ensuremath{E^\\text{act,flex}}}\n\\newcommand{\\actPrice}{\\ensuremath{\\pi^\\text{act}}}\n\\newcommand{\\capPrice}{\\ensuremath{\\pi^\\text{cap}}}\n\\newcommand{\\flexPrice}{\\ensuremath{\\pi^\\text{flex}}}\n\n% Consumption\n\\newcommand{\\shed} {\\ensuremath{a^\\text{she}}}\n%\\newcommand{\\flex}{\\ensuremath{a^\\text{fl}}}\n\\newcommand{\\flexCons}{\\ensuremath{c^\\text{flex}}}\n\\newcommand{\\flexStart}{\\ensuremath{y^\\text{flex}}}\n\\newcommand{\\flexStarted}{\\ensuremath{z^\\text{flex}}}\n\\newcommand{\\exclusiveGroup}{\\ensuremath{\\mathcal{G}}}\n\\newcommand{\\nonFlexible}{\\ensuremath{D^\\text{nfl}}}\n\\newcommand{\\flexibleLoadDuration}{\\ensuremath{\\text{duration}^\\text{fl}}}\n\\newcommand{\\flexibleLoadProfile}{\\ensuremath{\\text{profile}^\\text{flex}}}\n\\newcommand{\\flexibleLoadStartTime}{\\ensuremath{\\text{start}^\\text{flex}}}\n\\newcommand{\\flexibleLoadEndTime}{\\ensuremath{\\text{end}^\\text{flex}}}\n\\newcommand{\\flexibleLoadAcceptanceRatio}{\\ensuremath{\\underline{a}^\\text{flex}}}\n\\newcommand{\\flexibleLoadMustRun}{\\ensuremath{\\text{run}^\\text{flex}}}\n\\newcommand{\\flexibleEnergy}{\\ensuremath{\\text{E}^\\text{flex}}}\n\\newcommand{\\sheddable}{\\ensuremath{D^\\text{she}}}\n\\newcommand{\\maxSheddingTime}{\\ensuremath{\\overline{A}^\\text{she}}}\n\n% Sizing\n\\newcommand{\\InvHor} {\\ensuremath{I^{\\text{hor}}}}\n\n\\newcommand{\\CPV} {\\ensuremath{C^\\text{PV}}}\n\\newcommand{\\CBSS} {\\ensuremath{C^\\text{BSS}}}\n\n\\newcommand{\\hasPV} {\\ensuremath{b^\\text{PV}}}\n\\newcommand{\\hasBSS} {\\ensuremath{b^\\text{BSS}}}\n\\newcommand{\\hasdiscount}[1] {\\ensuremath{d^\\text{#1}}}\n\n\n\\newcommand{\\pif}[1] {\\ensuremath{\\pi_f^\\text{#1}}}\n\\newcommand{\\piv}[1] {\\ensuremath{\\pi_v^\\text{#1}}}\n\\newcommand{\\pid}[1] {\\ensuremath{\\pi_d^\\text{#1}}}\n\n\\newcommand{\\Cmax}[1] {\\ensuremath{\\overline{C}^\\text{#1}}}\n\\newcommand{\\Cmin}[1] {\\ensuremath{\\underline{C}^\\text{#1}}}\n\n% Sharing\n\\newcommand{\\weight}[1]{\\ensuremath{w^\\text{#1}}}\n\n% Misc\n\\newcommand{\\foralld}{\\ensuremath{\\forall d \\in \\OPdays}}\n\\newcommand{\\forallt}{\\ensuremath{\\forall t \\in \\OPperiods}}\n\\newcommand{\\foralln}{\\ensuremath{\\forall n \\in \\nodes}}\n\\newcommand{\\forallu}{\\ensuremath{\\forall u \\in \\users}}\n\\newcommand{\\foralluPrime}{\\ensuremath{\\forall u' \\in \\users}}\n\\newcommand{\\forallb}{\\ensuremath{\\forall d \\in \\BSSs}}\n\\newcommand{\\forallDShed}{\\ensuremath{\\forall d \\in \\sheddableDevices}}\n\\newcommand{\\forallDFlex}{\\ensuremath{\\forall d \\in \\devices{fl}}}\n\\newcommand{\\forallDCurt}{\\ensuremath{\\forall d \\in \\devices{nst}}}\n\\newcommand{\\forallDSteer}{\\ensuremath{\\forall d \\in \\devices{ste}}}\n\n\\newcommand{\\uinU}{u \\in \\users}\n\\newcommand{\\tinT}{t \\in \\OPperiods}\n\n\\newcommand{\\ut}{\\ensuremath{_{u,t}}}\n\\newcommand{\\ud}{\\ensuremath{_{u,d}}}\n\n\\newcommand{\\Rplus}{\\ensuremath{\\mathbb{R}_+}}\n\\newcommand{\\Rminus}{\\ensuremath{\\mathbb{R}_-}}\n\n% Network\n\\newcommand{\\Ploss}{\\ensuremath{P^\\text{loss}}}\n\\newcommand{\\Pinj}{\\ensuremath{P^\\text{inj}}}\n\\newcommand{\\Qinj}{\\ensuremath{Q^\\text{inj}}}\n\\newcommand{\\Qi}[1]{\\ensuremath{Q^\\text{#1}}}\n\\newcommand{\\Isqr}{\\ensuremath{I^\\text{sqr}}}\n\\newcommand{\\Vsqr}{\\ensuremath{V^\\text{sqr}}}\n\n\\newcommand{\\Pline}{\\ensuremath{P^\\text{line}}}\n\\newcommand{\\Qline}{\\ensuremath{Q^\\text{line}}}\n\n\\newcommand{\\Vmax}{\\ensuremath{\\overline{V}}}\n\\newcommand{\\Vmin}{\\ensuremath{\\underline{V}}}\n\\newcommand{\\Imax}{\\ensuremath{\\overline{I}}}\n\n% Sets related to PF\n\\newcommand{\\lines}{\\ensuremath{\\mathcal{L}}}\n\\newcommand{\\child}{\\ensuremath{\\mathcal{C}}}\n\\newcommand{\\ancestor}{\\ensuremath{\\mathcal{A}}}\n\n% Misc\n\\newcommand{\\red}[1]{\\textcolor{red}{#1}}\n\\newcommand{\\todo}[1]{\\textcolor{red}{\\textbf{TO DO: #1}}}\n\\newcommand{\\NB}[1]{\\textcolor{blue}{NB: #1}}\n\n\n\\begin{align}  \n&amp;  P^{flex}\\ut = P^{ref,flex}\\ut + P^{up,act}\\ut - P^{down,act}\\ut &amp; \\forallu, \\forallt\\label{FA:Real}\\\\\n&amp;P^{ref,flex}\\ut = P^{ref,flex}_{e_u,t} + P^{ref,flex}_{hp_u,t}&amp; \\forallu, \\forallt\\label{FA:Ref}\\\\\n&amp;P^{up/down,act}\\ut = P^{up/down,act}_{e_u,t} + P^{up/down,act}_{hp_u,t}&amp; \\forallu, \\forallt\\label{FA:Act}\\\\\n&amp; 0 \\leq P^{up/down,act}_{e_u/hp_u,t} \\leq  P^{up/down,cap}_{e_u/hp_u,t} &amp; \\forallu, \\forallt\\label{FA:Lim}\n\\end{align}\n\n\n\\end{document}&quot;}]}"/>
  </we:properties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44</Words>
  <Application>Microsoft Office PowerPoint</Application>
  <PresentationFormat>Widescreen</PresentationFormat>
  <Paragraphs>251</Paragraphs>
  <Slides>22</Slides>
  <Notes>3</Notes>
  <HiddenSlides>1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alibri</vt:lpstr>
      <vt:lpstr>Calibri Light</vt:lpstr>
      <vt:lpstr>Cambria Math</vt:lpstr>
      <vt:lpstr>Wingdings</vt:lpstr>
      <vt:lpstr>Office Theme</vt:lpstr>
      <vt:lpstr>think-cell Slide</vt:lpstr>
      <vt:lpstr>ResFlex: a residential load profile generator to model individual demand response in distribution grids</vt:lpstr>
      <vt:lpstr>ResFlex architecture</vt:lpstr>
      <vt:lpstr>Model of the BaseLoad</vt:lpstr>
      <vt:lpstr>Model of the White Goods</vt:lpstr>
      <vt:lpstr>Model of the Electric Vehicle</vt:lpstr>
      <vt:lpstr>Model of the Heat Pump</vt:lpstr>
      <vt:lpstr>Model of the Water Boiler</vt:lpstr>
      <vt:lpstr>Inputs</vt:lpstr>
      <vt:lpstr>Reference power profile | Outputs (1)</vt:lpstr>
      <vt:lpstr>Flexibility profile | Outputs (2)</vt:lpstr>
      <vt:lpstr>Household parameters | Outputs (3)</vt:lpstr>
      <vt:lpstr>Generating a population</vt:lpstr>
      <vt:lpstr>Recap on last publication</vt:lpstr>
      <vt:lpstr>Previous simulation scenarios</vt:lpstr>
      <vt:lpstr>PowerPoint Presentation</vt:lpstr>
      <vt:lpstr>Proposed approach</vt:lpstr>
      <vt:lpstr>Optimum for the community (Upper-Level) </vt:lpstr>
      <vt:lpstr>Optimal members reaction (Lower-Level)</vt:lpstr>
      <vt:lpstr>Interactions between the two levels</vt:lpstr>
      <vt:lpstr>Rules for activation</vt:lpstr>
      <vt:lpstr>Math 1 | Upper-Level cost &amp; exchanges </vt:lpstr>
      <vt:lpstr>Math 2 | Activ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Stegen</dc:creator>
  <cp:lastModifiedBy>Thomas Stegen</cp:lastModifiedBy>
  <cp:revision>3</cp:revision>
  <dcterms:created xsi:type="dcterms:W3CDTF">2024-01-25T14:52:46Z</dcterms:created>
  <dcterms:modified xsi:type="dcterms:W3CDTF">2025-05-21T12:02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4-02-01T10:03:43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ebe28896-f72d-4cbf-a1db-c810dd42f7c5</vt:lpwstr>
  </property>
  <property fmtid="{D5CDD505-2E9C-101B-9397-08002B2CF9AE}" pid="8" name="MSIP_Label_b0d5c4f4-7a29-4385-b7a5-afbe2154ae6f_ContentBits">
    <vt:lpwstr>0</vt:lpwstr>
  </property>
</Properties>
</file>